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sldIdLst>
    <p:sldId id="2241" r:id="rId6"/>
    <p:sldId id="2242" r:id="rId7"/>
    <p:sldId id="2243"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8C3D96-AA42-7956-4E6B-FD4E9D5C471E}" name="Pauline Smout" initials="PS" userId="S::pauline.smout@newforesight.com::3153cd80-1eee-4546-abae-f15e9d00b721"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97" d="100"/>
          <a:sy n="97" d="100"/>
        </p:scale>
        <p:origin x="99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ine Smout" userId="3153cd80-1eee-4546-abae-f15e9d00b721" providerId="ADAL" clId="{0889D571-655E-4100-A2D6-E16A77F94FB8}"/>
    <pc:docChg chg="modSld">
      <pc:chgData name="Pauline Smout" userId="3153cd80-1eee-4546-abae-f15e9d00b721" providerId="ADAL" clId="{0889D571-655E-4100-A2D6-E16A77F94FB8}" dt="2023-01-30T18:51:25.595" v="9" actId="20577"/>
      <pc:docMkLst>
        <pc:docMk/>
      </pc:docMkLst>
      <pc:sldChg chg="modSp mod">
        <pc:chgData name="Pauline Smout" userId="3153cd80-1eee-4546-abae-f15e9d00b721" providerId="ADAL" clId="{0889D571-655E-4100-A2D6-E16A77F94FB8}" dt="2023-01-30T18:51:25.595" v="9" actId="20577"/>
        <pc:sldMkLst>
          <pc:docMk/>
          <pc:sldMk cId="189570646" sldId="2241"/>
        </pc:sldMkLst>
        <pc:spChg chg="mod">
          <ac:chgData name="Pauline Smout" userId="3153cd80-1eee-4546-abae-f15e9d00b721" providerId="ADAL" clId="{0889D571-655E-4100-A2D6-E16A77F94FB8}" dt="2023-01-30T18:51:25.595" v="9" actId="20577"/>
          <ac:spMkLst>
            <pc:docMk/>
            <pc:sldMk cId="189570646" sldId="2241"/>
            <ac:spMk id="23" creationId="{95EC8B8B-86E1-C289-A77D-80463DA526EC}"/>
          </ac:spMkLst>
        </pc:spChg>
      </pc:sldChg>
    </pc:docChg>
  </pc:docChgLst>
  <pc:docChgLst>
    <pc:chgData name="Pauline Smout" userId="3153cd80-1eee-4546-abae-f15e9d00b721" providerId="ADAL" clId="{67DAA9D7-BA8B-4643-A50C-1C61D7C27134}"/>
    <pc:docChg chg="custSel addSld delSld modSld sldOrd">
      <pc:chgData name="Pauline Smout" userId="3153cd80-1eee-4546-abae-f15e9d00b721" providerId="ADAL" clId="{67DAA9D7-BA8B-4643-A50C-1C61D7C27134}" dt="2022-11-08T11:07:25.636" v="162" actId="20577"/>
      <pc:docMkLst>
        <pc:docMk/>
      </pc:docMkLst>
      <pc:sldChg chg="delSp modSp add del mod delCm">
        <pc:chgData name="Pauline Smout" userId="3153cd80-1eee-4546-abae-f15e9d00b721" providerId="ADAL" clId="{67DAA9D7-BA8B-4643-A50C-1C61D7C27134}" dt="2022-11-08T11:07:25.636" v="162" actId="20577"/>
        <pc:sldMkLst>
          <pc:docMk/>
          <pc:sldMk cId="189570646" sldId="2241"/>
        </pc:sldMkLst>
        <pc:spChg chg="mod">
          <ac:chgData name="Pauline Smout" userId="3153cd80-1eee-4546-abae-f15e9d00b721" providerId="ADAL" clId="{67DAA9D7-BA8B-4643-A50C-1C61D7C27134}" dt="2022-11-07T15:32:52.497" v="32" actId="20577"/>
          <ac:spMkLst>
            <pc:docMk/>
            <pc:sldMk cId="189570646" sldId="2241"/>
            <ac:spMk id="4" creationId="{B88EC84D-F491-43D5-F79A-E6C0AB90BBF5}"/>
          </ac:spMkLst>
        </pc:spChg>
        <pc:spChg chg="del">
          <ac:chgData name="Pauline Smout" userId="3153cd80-1eee-4546-abae-f15e9d00b721" providerId="ADAL" clId="{67DAA9D7-BA8B-4643-A50C-1C61D7C27134}" dt="2022-11-07T15:32:20.151" v="3" actId="478"/>
          <ac:spMkLst>
            <pc:docMk/>
            <pc:sldMk cId="189570646" sldId="2241"/>
            <ac:spMk id="7" creationId="{5EB0A421-2A6F-E132-3651-8EE3D6967544}"/>
          </ac:spMkLst>
        </pc:spChg>
        <pc:spChg chg="del">
          <ac:chgData name="Pauline Smout" userId="3153cd80-1eee-4546-abae-f15e9d00b721" providerId="ADAL" clId="{67DAA9D7-BA8B-4643-A50C-1C61D7C27134}" dt="2022-11-07T15:32:22.576" v="4" actId="478"/>
          <ac:spMkLst>
            <pc:docMk/>
            <pc:sldMk cId="189570646" sldId="2241"/>
            <ac:spMk id="15" creationId="{117488EF-51C6-D22E-1915-1AA115ACE604}"/>
          </ac:spMkLst>
        </pc:spChg>
        <pc:spChg chg="del">
          <ac:chgData name="Pauline Smout" userId="3153cd80-1eee-4546-abae-f15e9d00b721" providerId="ADAL" clId="{67DAA9D7-BA8B-4643-A50C-1C61D7C27134}" dt="2022-11-07T15:32:22.576" v="4" actId="478"/>
          <ac:spMkLst>
            <pc:docMk/>
            <pc:sldMk cId="189570646" sldId="2241"/>
            <ac:spMk id="16" creationId="{455ABD0B-FBE8-75E2-DD61-4EACE87EE6B1}"/>
          </ac:spMkLst>
        </pc:spChg>
        <pc:spChg chg="del">
          <ac:chgData name="Pauline Smout" userId="3153cd80-1eee-4546-abae-f15e9d00b721" providerId="ADAL" clId="{67DAA9D7-BA8B-4643-A50C-1C61D7C27134}" dt="2022-11-07T15:33:24.107" v="48" actId="478"/>
          <ac:spMkLst>
            <pc:docMk/>
            <pc:sldMk cId="189570646" sldId="2241"/>
            <ac:spMk id="17" creationId="{22D07C05-A6EB-0634-8164-491335B06169}"/>
          </ac:spMkLst>
        </pc:spChg>
        <pc:spChg chg="mod">
          <ac:chgData name="Pauline Smout" userId="3153cd80-1eee-4546-abae-f15e9d00b721" providerId="ADAL" clId="{67DAA9D7-BA8B-4643-A50C-1C61D7C27134}" dt="2022-11-07T15:36:23.945" v="93" actId="1076"/>
          <ac:spMkLst>
            <pc:docMk/>
            <pc:sldMk cId="189570646" sldId="2241"/>
            <ac:spMk id="18" creationId="{7DBE6F78-A3F4-A2EF-363A-A63BCE70D255}"/>
          </ac:spMkLst>
        </pc:spChg>
        <pc:spChg chg="mod">
          <ac:chgData name="Pauline Smout" userId="3153cd80-1eee-4546-abae-f15e9d00b721" providerId="ADAL" clId="{67DAA9D7-BA8B-4643-A50C-1C61D7C27134}" dt="2022-11-07T15:35:57.355" v="86" actId="1076"/>
          <ac:spMkLst>
            <pc:docMk/>
            <pc:sldMk cId="189570646" sldId="2241"/>
            <ac:spMk id="19" creationId="{65F0C34D-D58E-ACDD-7F91-7022B3E53A0B}"/>
          </ac:spMkLst>
        </pc:spChg>
        <pc:spChg chg="mod">
          <ac:chgData name="Pauline Smout" userId="3153cd80-1eee-4546-abae-f15e9d00b721" providerId="ADAL" clId="{67DAA9D7-BA8B-4643-A50C-1C61D7C27134}" dt="2022-11-07T15:35:54.516" v="85" actId="14100"/>
          <ac:spMkLst>
            <pc:docMk/>
            <pc:sldMk cId="189570646" sldId="2241"/>
            <ac:spMk id="20" creationId="{871F0B3D-A25F-1E09-AF37-8C547902710D}"/>
          </ac:spMkLst>
        </pc:spChg>
        <pc:spChg chg="mod">
          <ac:chgData name="Pauline Smout" userId="3153cd80-1eee-4546-abae-f15e9d00b721" providerId="ADAL" clId="{67DAA9D7-BA8B-4643-A50C-1C61D7C27134}" dt="2022-11-07T15:36:00.367" v="87" actId="465"/>
          <ac:spMkLst>
            <pc:docMk/>
            <pc:sldMk cId="189570646" sldId="2241"/>
            <ac:spMk id="21" creationId="{806957C5-AB7A-0F1F-3055-3BC19A3C7A43}"/>
          </ac:spMkLst>
        </pc:spChg>
        <pc:spChg chg="mod">
          <ac:chgData name="Pauline Smout" userId="3153cd80-1eee-4546-abae-f15e9d00b721" providerId="ADAL" clId="{67DAA9D7-BA8B-4643-A50C-1C61D7C27134}" dt="2022-11-08T11:07:25.636" v="162" actId="20577"/>
          <ac:spMkLst>
            <pc:docMk/>
            <pc:sldMk cId="189570646" sldId="2241"/>
            <ac:spMk id="22" creationId="{A8656DB6-18C3-3E6F-562A-EA2FC6D7761E}"/>
          </ac:spMkLst>
        </pc:spChg>
        <pc:spChg chg="mod">
          <ac:chgData name="Pauline Smout" userId="3153cd80-1eee-4546-abae-f15e9d00b721" providerId="ADAL" clId="{67DAA9D7-BA8B-4643-A50C-1C61D7C27134}" dt="2022-11-07T15:36:23.945" v="93" actId="1076"/>
          <ac:spMkLst>
            <pc:docMk/>
            <pc:sldMk cId="189570646" sldId="2241"/>
            <ac:spMk id="23" creationId="{95EC8B8B-86E1-C289-A77D-80463DA526EC}"/>
          </ac:spMkLst>
        </pc:spChg>
        <pc:spChg chg="mod">
          <ac:chgData name="Pauline Smout" userId="3153cd80-1eee-4546-abae-f15e9d00b721" providerId="ADAL" clId="{67DAA9D7-BA8B-4643-A50C-1C61D7C27134}" dt="2022-11-08T11:07:15.691" v="151" actId="20577"/>
          <ac:spMkLst>
            <pc:docMk/>
            <pc:sldMk cId="189570646" sldId="2241"/>
            <ac:spMk id="24" creationId="{7CE35B13-B9A0-A772-67B1-9A4B2E552833}"/>
          </ac:spMkLst>
        </pc:spChg>
        <pc:spChg chg="mod">
          <ac:chgData name="Pauline Smout" userId="3153cd80-1eee-4546-abae-f15e9d00b721" providerId="ADAL" clId="{67DAA9D7-BA8B-4643-A50C-1C61D7C27134}" dt="2022-11-07T15:36:00.367" v="87" actId="465"/>
          <ac:spMkLst>
            <pc:docMk/>
            <pc:sldMk cId="189570646" sldId="2241"/>
            <ac:spMk id="25" creationId="{81E5F67E-D64D-8AF6-9281-656421D825F0}"/>
          </ac:spMkLst>
        </pc:spChg>
        <pc:spChg chg="del">
          <ac:chgData name="Pauline Smout" userId="3153cd80-1eee-4546-abae-f15e9d00b721" providerId="ADAL" clId="{67DAA9D7-BA8B-4643-A50C-1C61D7C27134}" dt="2022-11-07T15:33:23.072" v="47" actId="478"/>
          <ac:spMkLst>
            <pc:docMk/>
            <pc:sldMk cId="189570646" sldId="2241"/>
            <ac:spMk id="26" creationId="{F2DE665A-700C-0790-7E92-156242B58B6A}"/>
          </ac:spMkLst>
        </pc:spChg>
        <pc:spChg chg="del">
          <ac:chgData name="Pauline Smout" userId="3153cd80-1eee-4546-abae-f15e9d00b721" providerId="ADAL" clId="{67DAA9D7-BA8B-4643-A50C-1C61D7C27134}" dt="2022-11-07T15:33:23.072" v="47" actId="478"/>
          <ac:spMkLst>
            <pc:docMk/>
            <pc:sldMk cId="189570646" sldId="2241"/>
            <ac:spMk id="27" creationId="{C8ACB70C-8D5D-65F1-70E4-97D274006F0A}"/>
          </ac:spMkLst>
        </pc:spChg>
        <pc:spChg chg="del">
          <ac:chgData name="Pauline Smout" userId="3153cd80-1eee-4546-abae-f15e9d00b721" providerId="ADAL" clId="{67DAA9D7-BA8B-4643-A50C-1C61D7C27134}" dt="2022-11-07T15:33:23.072" v="47" actId="478"/>
          <ac:spMkLst>
            <pc:docMk/>
            <pc:sldMk cId="189570646" sldId="2241"/>
            <ac:spMk id="28" creationId="{7DEE1C57-0231-C31C-9495-D2D7B4B3FB60}"/>
          </ac:spMkLst>
        </pc:spChg>
        <pc:spChg chg="del">
          <ac:chgData name="Pauline Smout" userId="3153cd80-1eee-4546-abae-f15e9d00b721" providerId="ADAL" clId="{67DAA9D7-BA8B-4643-A50C-1C61D7C27134}" dt="2022-11-07T15:33:23.072" v="47" actId="478"/>
          <ac:spMkLst>
            <pc:docMk/>
            <pc:sldMk cId="189570646" sldId="2241"/>
            <ac:spMk id="29" creationId="{E1AA9B12-646D-0A99-368A-FC498FC2AFE3}"/>
          </ac:spMkLst>
        </pc:spChg>
        <pc:spChg chg="del">
          <ac:chgData name="Pauline Smout" userId="3153cd80-1eee-4546-abae-f15e9d00b721" providerId="ADAL" clId="{67DAA9D7-BA8B-4643-A50C-1C61D7C27134}" dt="2022-11-07T15:33:23.072" v="47" actId="478"/>
          <ac:spMkLst>
            <pc:docMk/>
            <pc:sldMk cId="189570646" sldId="2241"/>
            <ac:spMk id="30" creationId="{96530368-8ED9-639B-7D6F-1EB2A8D3854D}"/>
          </ac:spMkLst>
        </pc:spChg>
        <pc:spChg chg="del">
          <ac:chgData name="Pauline Smout" userId="3153cd80-1eee-4546-abae-f15e9d00b721" providerId="ADAL" clId="{67DAA9D7-BA8B-4643-A50C-1C61D7C27134}" dt="2022-11-07T15:33:23.072" v="47" actId="478"/>
          <ac:spMkLst>
            <pc:docMk/>
            <pc:sldMk cId="189570646" sldId="2241"/>
            <ac:spMk id="31" creationId="{3D256593-101F-AD65-F029-45C9C3509415}"/>
          </ac:spMkLst>
        </pc:spChg>
        <pc:spChg chg="del">
          <ac:chgData name="Pauline Smout" userId="3153cd80-1eee-4546-abae-f15e9d00b721" providerId="ADAL" clId="{67DAA9D7-BA8B-4643-A50C-1C61D7C27134}" dt="2022-11-07T15:33:23.072" v="47" actId="478"/>
          <ac:spMkLst>
            <pc:docMk/>
            <pc:sldMk cId="189570646" sldId="2241"/>
            <ac:spMk id="32" creationId="{51E96ACE-2331-B9C1-11AB-ADF0BD46A1AA}"/>
          </ac:spMkLst>
        </pc:spChg>
        <pc:spChg chg="del">
          <ac:chgData name="Pauline Smout" userId="3153cd80-1eee-4546-abae-f15e9d00b721" providerId="ADAL" clId="{67DAA9D7-BA8B-4643-A50C-1C61D7C27134}" dt="2022-11-07T15:33:23.072" v="47" actId="478"/>
          <ac:spMkLst>
            <pc:docMk/>
            <pc:sldMk cId="189570646" sldId="2241"/>
            <ac:spMk id="33" creationId="{6EA1001B-7A58-A3B6-629D-7D10AF2CE1DC}"/>
          </ac:spMkLst>
        </pc:spChg>
        <pc:spChg chg="del">
          <ac:chgData name="Pauline Smout" userId="3153cd80-1eee-4546-abae-f15e9d00b721" providerId="ADAL" clId="{67DAA9D7-BA8B-4643-A50C-1C61D7C27134}" dt="2022-11-07T15:33:23.072" v="47" actId="478"/>
          <ac:spMkLst>
            <pc:docMk/>
            <pc:sldMk cId="189570646" sldId="2241"/>
            <ac:spMk id="34" creationId="{66965C2A-9BEF-EDB4-2468-950D10BCE838}"/>
          </ac:spMkLst>
        </pc:spChg>
        <pc:spChg chg="del">
          <ac:chgData name="Pauline Smout" userId="3153cd80-1eee-4546-abae-f15e9d00b721" providerId="ADAL" clId="{67DAA9D7-BA8B-4643-A50C-1C61D7C27134}" dt="2022-11-07T15:33:23.072" v="47" actId="478"/>
          <ac:spMkLst>
            <pc:docMk/>
            <pc:sldMk cId="189570646" sldId="2241"/>
            <ac:spMk id="35" creationId="{8025925F-4968-BF39-B8A2-BF43032AAD54}"/>
          </ac:spMkLst>
        </pc:spChg>
        <pc:spChg chg="del">
          <ac:chgData name="Pauline Smout" userId="3153cd80-1eee-4546-abae-f15e9d00b721" providerId="ADAL" clId="{67DAA9D7-BA8B-4643-A50C-1C61D7C27134}" dt="2022-11-07T15:33:23.072" v="47" actId="478"/>
          <ac:spMkLst>
            <pc:docMk/>
            <pc:sldMk cId="189570646" sldId="2241"/>
            <ac:spMk id="37" creationId="{7E8D5410-08D0-20E9-7D91-0C1BF809CEB7}"/>
          </ac:spMkLst>
        </pc:spChg>
        <pc:spChg chg="del">
          <ac:chgData name="Pauline Smout" userId="3153cd80-1eee-4546-abae-f15e9d00b721" providerId="ADAL" clId="{67DAA9D7-BA8B-4643-A50C-1C61D7C27134}" dt="2022-11-07T15:33:23.072" v="47" actId="478"/>
          <ac:spMkLst>
            <pc:docMk/>
            <pc:sldMk cId="189570646" sldId="2241"/>
            <ac:spMk id="38" creationId="{F45E3B01-C1FE-BAAB-B642-312026694C9E}"/>
          </ac:spMkLst>
        </pc:spChg>
        <pc:spChg chg="del">
          <ac:chgData name="Pauline Smout" userId="3153cd80-1eee-4546-abae-f15e9d00b721" providerId="ADAL" clId="{67DAA9D7-BA8B-4643-A50C-1C61D7C27134}" dt="2022-11-07T15:33:23.072" v="47" actId="478"/>
          <ac:spMkLst>
            <pc:docMk/>
            <pc:sldMk cId="189570646" sldId="2241"/>
            <ac:spMk id="39" creationId="{C94591A8-A89E-0FE2-3C24-5554410D245B}"/>
          </ac:spMkLst>
        </pc:spChg>
        <pc:spChg chg="del">
          <ac:chgData name="Pauline Smout" userId="3153cd80-1eee-4546-abae-f15e9d00b721" providerId="ADAL" clId="{67DAA9D7-BA8B-4643-A50C-1C61D7C27134}" dt="2022-11-07T15:33:23.072" v="47" actId="478"/>
          <ac:spMkLst>
            <pc:docMk/>
            <pc:sldMk cId="189570646" sldId="2241"/>
            <ac:spMk id="40" creationId="{4D6332F4-C3B2-7ABA-996A-AEFA64F35368}"/>
          </ac:spMkLst>
        </pc:spChg>
        <pc:spChg chg="del">
          <ac:chgData name="Pauline Smout" userId="3153cd80-1eee-4546-abae-f15e9d00b721" providerId="ADAL" clId="{67DAA9D7-BA8B-4643-A50C-1C61D7C27134}" dt="2022-11-07T15:33:23.072" v="47" actId="478"/>
          <ac:spMkLst>
            <pc:docMk/>
            <pc:sldMk cId="189570646" sldId="2241"/>
            <ac:spMk id="41" creationId="{E29709FE-44FA-7321-E639-72813BAD8CEE}"/>
          </ac:spMkLst>
        </pc:spChg>
        <pc:spChg chg="del">
          <ac:chgData name="Pauline Smout" userId="3153cd80-1eee-4546-abae-f15e9d00b721" providerId="ADAL" clId="{67DAA9D7-BA8B-4643-A50C-1C61D7C27134}" dt="2022-11-07T15:33:23.072" v="47" actId="478"/>
          <ac:spMkLst>
            <pc:docMk/>
            <pc:sldMk cId="189570646" sldId="2241"/>
            <ac:spMk id="42" creationId="{8C7FD0BC-0C00-8316-8B45-1C0B9882E495}"/>
          </ac:spMkLst>
        </pc:spChg>
        <pc:spChg chg="del">
          <ac:chgData name="Pauline Smout" userId="3153cd80-1eee-4546-abae-f15e9d00b721" providerId="ADAL" clId="{67DAA9D7-BA8B-4643-A50C-1C61D7C27134}" dt="2022-11-07T15:33:23.072" v="47" actId="478"/>
          <ac:spMkLst>
            <pc:docMk/>
            <pc:sldMk cId="189570646" sldId="2241"/>
            <ac:spMk id="43" creationId="{762048EB-4CD3-A139-EEC6-E42A65A48A37}"/>
          </ac:spMkLst>
        </pc:spChg>
        <pc:cxnChg chg="del">
          <ac:chgData name="Pauline Smout" userId="3153cd80-1eee-4546-abae-f15e9d00b721" providerId="ADAL" clId="{67DAA9D7-BA8B-4643-A50C-1C61D7C27134}" dt="2022-11-07T15:32:56.978" v="33" actId="478"/>
          <ac:cxnSpMkLst>
            <pc:docMk/>
            <pc:sldMk cId="189570646" sldId="2241"/>
            <ac:cxnSpMk id="10" creationId="{92DA34CB-8C67-5CCC-1EDF-0D68CB2E46D5}"/>
          </ac:cxnSpMkLst>
        </pc:cxnChg>
      </pc:sldChg>
      <pc:sldChg chg="delSp modSp add mod">
        <pc:chgData name="Pauline Smout" userId="3153cd80-1eee-4546-abae-f15e9d00b721" providerId="ADAL" clId="{67DAA9D7-BA8B-4643-A50C-1C61D7C27134}" dt="2022-11-07T15:37:16.701" v="107" actId="465"/>
        <pc:sldMkLst>
          <pc:docMk/>
          <pc:sldMk cId="505816809" sldId="2242"/>
        </pc:sldMkLst>
        <pc:spChg chg="mod">
          <ac:chgData name="Pauline Smout" userId="3153cd80-1eee-4546-abae-f15e9d00b721" providerId="ADAL" clId="{67DAA9D7-BA8B-4643-A50C-1C61D7C27134}" dt="2022-11-07T15:33:01.210" v="36" actId="20577"/>
          <ac:spMkLst>
            <pc:docMk/>
            <pc:sldMk cId="505816809" sldId="2242"/>
            <ac:spMk id="4" creationId="{B88EC84D-F491-43D5-F79A-E6C0AB90BBF5}"/>
          </ac:spMkLst>
        </pc:spChg>
        <pc:spChg chg="del">
          <ac:chgData name="Pauline Smout" userId="3153cd80-1eee-4546-abae-f15e9d00b721" providerId="ADAL" clId="{67DAA9D7-BA8B-4643-A50C-1C61D7C27134}" dt="2022-11-07T15:33:04.123" v="37" actId="478"/>
          <ac:spMkLst>
            <pc:docMk/>
            <pc:sldMk cId="505816809" sldId="2242"/>
            <ac:spMk id="17" creationId="{22D07C05-A6EB-0634-8164-491335B06169}"/>
          </ac:spMkLst>
        </pc:spChg>
        <pc:spChg chg="del">
          <ac:chgData name="Pauline Smout" userId="3153cd80-1eee-4546-abae-f15e9d00b721" providerId="ADAL" clId="{67DAA9D7-BA8B-4643-A50C-1C61D7C27134}" dt="2022-11-07T15:33:04.123" v="37" actId="478"/>
          <ac:spMkLst>
            <pc:docMk/>
            <pc:sldMk cId="505816809" sldId="2242"/>
            <ac:spMk id="18" creationId="{7DBE6F78-A3F4-A2EF-363A-A63BCE70D255}"/>
          </ac:spMkLst>
        </pc:spChg>
        <pc:spChg chg="del">
          <ac:chgData name="Pauline Smout" userId="3153cd80-1eee-4546-abae-f15e9d00b721" providerId="ADAL" clId="{67DAA9D7-BA8B-4643-A50C-1C61D7C27134}" dt="2022-11-07T15:33:04.123" v="37" actId="478"/>
          <ac:spMkLst>
            <pc:docMk/>
            <pc:sldMk cId="505816809" sldId="2242"/>
            <ac:spMk id="19" creationId="{65F0C34D-D58E-ACDD-7F91-7022B3E53A0B}"/>
          </ac:spMkLst>
        </pc:spChg>
        <pc:spChg chg="del">
          <ac:chgData name="Pauline Smout" userId="3153cd80-1eee-4546-abae-f15e9d00b721" providerId="ADAL" clId="{67DAA9D7-BA8B-4643-A50C-1C61D7C27134}" dt="2022-11-07T15:33:04.123" v="37" actId="478"/>
          <ac:spMkLst>
            <pc:docMk/>
            <pc:sldMk cId="505816809" sldId="2242"/>
            <ac:spMk id="20" creationId="{871F0B3D-A25F-1E09-AF37-8C547902710D}"/>
          </ac:spMkLst>
        </pc:spChg>
        <pc:spChg chg="del">
          <ac:chgData name="Pauline Smout" userId="3153cd80-1eee-4546-abae-f15e9d00b721" providerId="ADAL" clId="{67DAA9D7-BA8B-4643-A50C-1C61D7C27134}" dt="2022-11-07T15:33:04.123" v="37" actId="478"/>
          <ac:spMkLst>
            <pc:docMk/>
            <pc:sldMk cId="505816809" sldId="2242"/>
            <ac:spMk id="21" creationId="{806957C5-AB7A-0F1F-3055-3BC19A3C7A43}"/>
          </ac:spMkLst>
        </pc:spChg>
        <pc:spChg chg="del">
          <ac:chgData name="Pauline Smout" userId="3153cd80-1eee-4546-abae-f15e9d00b721" providerId="ADAL" clId="{67DAA9D7-BA8B-4643-A50C-1C61D7C27134}" dt="2022-11-07T15:33:04.123" v="37" actId="478"/>
          <ac:spMkLst>
            <pc:docMk/>
            <pc:sldMk cId="505816809" sldId="2242"/>
            <ac:spMk id="22" creationId="{A8656DB6-18C3-3E6F-562A-EA2FC6D7761E}"/>
          </ac:spMkLst>
        </pc:spChg>
        <pc:spChg chg="del">
          <ac:chgData name="Pauline Smout" userId="3153cd80-1eee-4546-abae-f15e9d00b721" providerId="ADAL" clId="{67DAA9D7-BA8B-4643-A50C-1C61D7C27134}" dt="2022-11-07T15:33:04.123" v="37" actId="478"/>
          <ac:spMkLst>
            <pc:docMk/>
            <pc:sldMk cId="505816809" sldId="2242"/>
            <ac:spMk id="23" creationId="{95EC8B8B-86E1-C289-A77D-80463DA526EC}"/>
          </ac:spMkLst>
        </pc:spChg>
        <pc:spChg chg="del">
          <ac:chgData name="Pauline Smout" userId="3153cd80-1eee-4546-abae-f15e9d00b721" providerId="ADAL" clId="{67DAA9D7-BA8B-4643-A50C-1C61D7C27134}" dt="2022-11-07T15:33:04.123" v="37" actId="478"/>
          <ac:spMkLst>
            <pc:docMk/>
            <pc:sldMk cId="505816809" sldId="2242"/>
            <ac:spMk id="24" creationId="{7CE35B13-B9A0-A772-67B1-9A4B2E552833}"/>
          </ac:spMkLst>
        </pc:spChg>
        <pc:spChg chg="del">
          <ac:chgData name="Pauline Smout" userId="3153cd80-1eee-4546-abae-f15e9d00b721" providerId="ADAL" clId="{67DAA9D7-BA8B-4643-A50C-1C61D7C27134}" dt="2022-11-07T15:33:04.123" v="37" actId="478"/>
          <ac:spMkLst>
            <pc:docMk/>
            <pc:sldMk cId="505816809" sldId="2242"/>
            <ac:spMk id="25" creationId="{81E5F67E-D64D-8AF6-9281-656421D825F0}"/>
          </ac:spMkLst>
        </pc:spChg>
        <pc:spChg chg="del">
          <ac:chgData name="Pauline Smout" userId="3153cd80-1eee-4546-abae-f15e9d00b721" providerId="ADAL" clId="{67DAA9D7-BA8B-4643-A50C-1C61D7C27134}" dt="2022-11-07T15:33:09.099" v="39" actId="478"/>
          <ac:spMkLst>
            <pc:docMk/>
            <pc:sldMk cId="505816809" sldId="2242"/>
            <ac:spMk id="26" creationId="{F2DE665A-700C-0790-7E92-156242B58B6A}"/>
          </ac:spMkLst>
        </pc:spChg>
        <pc:spChg chg="mod">
          <ac:chgData name="Pauline Smout" userId="3153cd80-1eee-4546-abae-f15e9d00b721" providerId="ADAL" clId="{67DAA9D7-BA8B-4643-A50C-1C61D7C27134}" dt="2022-11-07T15:37:13.341" v="106" actId="465"/>
          <ac:spMkLst>
            <pc:docMk/>
            <pc:sldMk cId="505816809" sldId="2242"/>
            <ac:spMk id="27" creationId="{C8ACB70C-8D5D-65F1-70E4-97D274006F0A}"/>
          </ac:spMkLst>
        </pc:spChg>
        <pc:spChg chg="mod">
          <ac:chgData name="Pauline Smout" userId="3153cd80-1eee-4546-abae-f15e9d00b721" providerId="ADAL" clId="{67DAA9D7-BA8B-4643-A50C-1C61D7C27134}" dt="2022-11-07T15:37:09.407" v="105" actId="1076"/>
          <ac:spMkLst>
            <pc:docMk/>
            <pc:sldMk cId="505816809" sldId="2242"/>
            <ac:spMk id="28" creationId="{7DEE1C57-0231-C31C-9495-D2D7B4B3FB60}"/>
          </ac:spMkLst>
        </pc:spChg>
        <pc:spChg chg="mod">
          <ac:chgData name="Pauline Smout" userId="3153cd80-1eee-4546-abae-f15e9d00b721" providerId="ADAL" clId="{67DAA9D7-BA8B-4643-A50C-1C61D7C27134}" dt="2022-11-07T15:37:00.994" v="102" actId="1076"/>
          <ac:spMkLst>
            <pc:docMk/>
            <pc:sldMk cId="505816809" sldId="2242"/>
            <ac:spMk id="29" creationId="{E1AA9B12-646D-0A99-368A-FC498FC2AFE3}"/>
          </ac:spMkLst>
        </pc:spChg>
        <pc:spChg chg="mod">
          <ac:chgData name="Pauline Smout" userId="3153cd80-1eee-4546-abae-f15e9d00b721" providerId="ADAL" clId="{67DAA9D7-BA8B-4643-A50C-1C61D7C27134}" dt="2022-11-07T15:37:13.341" v="106" actId="465"/>
          <ac:spMkLst>
            <pc:docMk/>
            <pc:sldMk cId="505816809" sldId="2242"/>
            <ac:spMk id="30" creationId="{96530368-8ED9-639B-7D6F-1EB2A8D3854D}"/>
          </ac:spMkLst>
        </pc:spChg>
        <pc:spChg chg="mod">
          <ac:chgData name="Pauline Smout" userId="3153cd80-1eee-4546-abae-f15e9d00b721" providerId="ADAL" clId="{67DAA9D7-BA8B-4643-A50C-1C61D7C27134}" dt="2022-11-07T15:37:16.701" v="107" actId="465"/>
          <ac:spMkLst>
            <pc:docMk/>
            <pc:sldMk cId="505816809" sldId="2242"/>
            <ac:spMk id="31" creationId="{3D256593-101F-AD65-F029-45C9C3509415}"/>
          </ac:spMkLst>
        </pc:spChg>
        <pc:spChg chg="mod">
          <ac:chgData name="Pauline Smout" userId="3153cd80-1eee-4546-abae-f15e9d00b721" providerId="ADAL" clId="{67DAA9D7-BA8B-4643-A50C-1C61D7C27134}" dt="2022-11-07T15:37:06.918" v="104" actId="1076"/>
          <ac:spMkLst>
            <pc:docMk/>
            <pc:sldMk cId="505816809" sldId="2242"/>
            <ac:spMk id="32" creationId="{51E96ACE-2331-B9C1-11AB-ADF0BD46A1AA}"/>
          </ac:spMkLst>
        </pc:spChg>
        <pc:spChg chg="mod">
          <ac:chgData name="Pauline Smout" userId="3153cd80-1eee-4546-abae-f15e9d00b721" providerId="ADAL" clId="{67DAA9D7-BA8B-4643-A50C-1C61D7C27134}" dt="2022-11-07T15:37:03.827" v="103" actId="1076"/>
          <ac:spMkLst>
            <pc:docMk/>
            <pc:sldMk cId="505816809" sldId="2242"/>
            <ac:spMk id="33" creationId="{6EA1001B-7A58-A3B6-629D-7D10AF2CE1DC}"/>
          </ac:spMkLst>
        </pc:spChg>
        <pc:spChg chg="mod">
          <ac:chgData name="Pauline Smout" userId="3153cd80-1eee-4546-abae-f15e9d00b721" providerId="ADAL" clId="{67DAA9D7-BA8B-4643-A50C-1C61D7C27134}" dt="2022-11-07T15:37:16.701" v="107" actId="465"/>
          <ac:spMkLst>
            <pc:docMk/>
            <pc:sldMk cId="505816809" sldId="2242"/>
            <ac:spMk id="34" creationId="{66965C2A-9BEF-EDB4-2468-950D10BCE838}"/>
          </ac:spMkLst>
        </pc:spChg>
        <pc:spChg chg="del">
          <ac:chgData name="Pauline Smout" userId="3153cd80-1eee-4546-abae-f15e9d00b721" providerId="ADAL" clId="{67DAA9D7-BA8B-4643-A50C-1C61D7C27134}" dt="2022-11-07T15:33:07.484" v="38" actId="478"/>
          <ac:spMkLst>
            <pc:docMk/>
            <pc:sldMk cId="505816809" sldId="2242"/>
            <ac:spMk id="35" creationId="{8025925F-4968-BF39-B8A2-BF43032AAD54}"/>
          </ac:spMkLst>
        </pc:spChg>
        <pc:spChg chg="del">
          <ac:chgData name="Pauline Smout" userId="3153cd80-1eee-4546-abae-f15e9d00b721" providerId="ADAL" clId="{67DAA9D7-BA8B-4643-A50C-1C61D7C27134}" dt="2022-11-07T15:33:07.484" v="38" actId="478"/>
          <ac:spMkLst>
            <pc:docMk/>
            <pc:sldMk cId="505816809" sldId="2242"/>
            <ac:spMk id="37" creationId="{7E8D5410-08D0-20E9-7D91-0C1BF809CEB7}"/>
          </ac:spMkLst>
        </pc:spChg>
        <pc:spChg chg="del">
          <ac:chgData name="Pauline Smout" userId="3153cd80-1eee-4546-abae-f15e9d00b721" providerId="ADAL" clId="{67DAA9D7-BA8B-4643-A50C-1C61D7C27134}" dt="2022-11-07T15:33:07.484" v="38" actId="478"/>
          <ac:spMkLst>
            <pc:docMk/>
            <pc:sldMk cId="505816809" sldId="2242"/>
            <ac:spMk id="38" creationId="{F45E3B01-C1FE-BAAB-B642-312026694C9E}"/>
          </ac:spMkLst>
        </pc:spChg>
        <pc:spChg chg="del">
          <ac:chgData name="Pauline Smout" userId="3153cd80-1eee-4546-abae-f15e9d00b721" providerId="ADAL" clId="{67DAA9D7-BA8B-4643-A50C-1C61D7C27134}" dt="2022-11-07T15:33:07.484" v="38" actId="478"/>
          <ac:spMkLst>
            <pc:docMk/>
            <pc:sldMk cId="505816809" sldId="2242"/>
            <ac:spMk id="39" creationId="{C94591A8-A89E-0FE2-3C24-5554410D245B}"/>
          </ac:spMkLst>
        </pc:spChg>
        <pc:spChg chg="del">
          <ac:chgData name="Pauline Smout" userId="3153cd80-1eee-4546-abae-f15e9d00b721" providerId="ADAL" clId="{67DAA9D7-BA8B-4643-A50C-1C61D7C27134}" dt="2022-11-07T15:33:07.484" v="38" actId="478"/>
          <ac:spMkLst>
            <pc:docMk/>
            <pc:sldMk cId="505816809" sldId="2242"/>
            <ac:spMk id="40" creationId="{4D6332F4-C3B2-7ABA-996A-AEFA64F35368}"/>
          </ac:spMkLst>
        </pc:spChg>
        <pc:spChg chg="del">
          <ac:chgData name="Pauline Smout" userId="3153cd80-1eee-4546-abae-f15e9d00b721" providerId="ADAL" clId="{67DAA9D7-BA8B-4643-A50C-1C61D7C27134}" dt="2022-11-07T15:33:07.484" v="38" actId="478"/>
          <ac:spMkLst>
            <pc:docMk/>
            <pc:sldMk cId="505816809" sldId="2242"/>
            <ac:spMk id="41" creationId="{E29709FE-44FA-7321-E639-72813BAD8CEE}"/>
          </ac:spMkLst>
        </pc:spChg>
        <pc:spChg chg="del">
          <ac:chgData name="Pauline Smout" userId="3153cd80-1eee-4546-abae-f15e9d00b721" providerId="ADAL" clId="{67DAA9D7-BA8B-4643-A50C-1C61D7C27134}" dt="2022-11-07T15:33:07.484" v="38" actId="478"/>
          <ac:spMkLst>
            <pc:docMk/>
            <pc:sldMk cId="505816809" sldId="2242"/>
            <ac:spMk id="42" creationId="{8C7FD0BC-0C00-8316-8B45-1C0B9882E495}"/>
          </ac:spMkLst>
        </pc:spChg>
        <pc:spChg chg="del">
          <ac:chgData name="Pauline Smout" userId="3153cd80-1eee-4546-abae-f15e9d00b721" providerId="ADAL" clId="{67DAA9D7-BA8B-4643-A50C-1C61D7C27134}" dt="2022-11-07T15:33:07.484" v="38" actId="478"/>
          <ac:spMkLst>
            <pc:docMk/>
            <pc:sldMk cId="505816809" sldId="2242"/>
            <ac:spMk id="43" creationId="{762048EB-4CD3-A139-EEC6-E42A65A48A37}"/>
          </ac:spMkLst>
        </pc:spChg>
      </pc:sldChg>
      <pc:sldChg chg="delSp modSp add mod ord">
        <pc:chgData name="Pauline Smout" userId="3153cd80-1eee-4546-abae-f15e9d00b721" providerId="ADAL" clId="{67DAA9D7-BA8B-4643-A50C-1C61D7C27134}" dt="2022-11-07T15:43:09.546" v="125" actId="465"/>
        <pc:sldMkLst>
          <pc:docMk/>
          <pc:sldMk cId="234736888" sldId="2243"/>
        </pc:sldMkLst>
        <pc:spChg chg="mod">
          <ac:chgData name="Pauline Smout" userId="3153cd80-1eee-4546-abae-f15e9d00b721" providerId="ADAL" clId="{67DAA9D7-BA8B-4643-A50C-1C61D7C27134}" dt="2022-11-07T15:33:14.260" v="44" actId="20577"/>
          <ac:spMkLst>
            <pc:docMk/>
            <pc:sldMk cId="234736888" sldId="2243"/>
            <ac:spMk id="4" creationId="{B88EC84D-F491-43D5-F79A-E6C0AB90BBF5}"/>
          </ac:spMkLst>
        </pc:spChg>
        <pc:spChg chg="del">
          <ac:chgData name="Pauline Smout" userId="3153cd80-1eee-4546-abae-f15e9d00b721" providerId="ADAL" clId="{67DAA9D7-BA8B-4643-A50C-1C61D7C27134}" dt="2022-11-07T15:33:16.861" v="45" actId="478"/>
          <ac:spMkLst>
            <pc:docMk/>
            <pc:sldMk cId="234736888" sldId="2243"/>
            <ac:spMk id="17" creationId="{22D07C05-A6EB-0634-8164-491335B06169}"/>
          </ac:spMkLst>
        </pc:spChg>
        <pc:spChg chg="del">
          <ac:chgData name="Pauline Smout" userId="3153cd80-1eee-4546-abae-f15e9d00b721" providerId="ADAL" clId="{67DAA9D7-BA8B-4643-A50C-1C61D7C27134}" dt="2022-11-07T15:33:16.861" v="45" actId="478"/>
          <ac:spMkLst>
            <pc:docMk/>
            <pc:sldMk cId="234736888" sldId="2243"/>
            <ac:spMk id="18" creationId="{7DBE6F78-A3F4-A2EF-363A-A63BCE70D255}"/>
          </ac:spMkLst>
        </pc:spChg>
        <pc:spChg chg="del">
          <ac:chgData name="Pauline Smout" userId="3153cd80-1eee-4546-abae-f15e9d00b721" providerId="ADAL" clId="{67DAA9D7-BA8B-4643-A50C-1C61D7C27134}" dt="2022-11-07T15:33:16.861" v="45" actId="478"/>
          <ac:spMkLst>
            <pc:docMk/>
            <pc:sldMk cId="234736888" sldId="2243"/>
            <ac:spMk id="19" creationId="{65F0C34D-D58E-ACDD-7F91-7022B3E53A0B}"/>
          </ac:spMkLst>
        </pc:spChg>
        <pc:spChg chg="del">
          <ac:chgData name="Pauline Smout" userId="3153cd80-1eee-4546-abae-f15e9d00b721" providerId="ADAL" clId="{67DAA9D7-BA8B-4643-A50C-1C61D7C27134}" dt="2022-11-07T15:33:16.861" v="45" actId="478"/>
          <ac:spMkLst>
            <pc:docMk/>
            <pc:sldMk cId="234736888" sldId="2243"/>
            <ac:spMk id="20" creationId="{871F0B3D-A25F-1E09-AF37-8C547902710D}"/>
          </ac:spMkLst>
        </pc:spChg>
        <pc:spChg chg="del">
          <ac:chgData name="Pauline Smout" userId="3153cd80-1eee-4546-abae-f15e9d00b721" providerId="ADAL" clId="{67DAA9D7-BA8B-4643-A50C-1C61D7C27134}" dt="2022-11-07T15:33:16.861" v="45" actId="478"/>
          <ac:spMkLst>
            <pc:docMk/>
            <pc:sldMk cId="234736888" sldId="2243"/>
            <ac:spMk id="21" creationId="{806957C5-AB7A-0F1F-3055-3BC19A3C7A43}"/>
          </ac:spMkLst>
        </pc:spChg>
        <pc:spChg chg="del">
          <ac:chgData name="Pauline Smout" userId="3153cd80-1eee-4546-abae-f15e9d00b721" providerId="ADAL" clId="{67DAA9D7-BA8B-4643-A50C-1C61D7C27134}" dt="2022-11-07T15:33:16.861" v="45" actId="478"/>
          <ac:spMkLst>
            <pc:docMk/>
            <pc:sldMk cId="234736888" sldId="2243"/>
            <ac:spMk id="22" creationId="{A8656DB6-18C3-3E6F-562A-EA2FC6D7761E}"/>
          </ac:spMkLst>
        </pc:spChg>
        <pc:spChg chg="del">
          <ac:chgData name="Pauline Smout" userId="3153cd80-1eee-4546-abae-f15e9d00b721" providerId="ADAL" clId="{67DAA9D7-BA8B-4643-A50C-1C61D7C27134}" dt="2022-11-07T15:33:16.861" v="45" actId="478"/>
          <ac:spMkLst>
            <pc:docMk/>
            <pc:sldMk cId="234736888" sldId="2243"/>
            <ac:spMk id="23" creationId="{95EC8B8B-86E1-C289-A77D-80463DA526EC}"/>
          </ac:spMkLst>
        </pc:spChg>
        <pc:spChg chg="del">
          <ac:chgData name="Pauline Smout" userId="3153cd80-1eee-4546-abae-f15e9d00b721" providerId="ADAL" clId="{67DAA9D7-BA8B-4643-A50C-1C61D7C27134}" dt="2022-11-07T15:33:16.861" v="45" actId="478"/>
          <ac:spMkLst>
            <pc:docMk/>
            <pc:sldMk cId="234736888" sldId="2243"/>
            <ac:spMk id="24" creationId="{7CE35B13-B9A0-A772-67B1-9A4B2E552833}"/>
          </ac:spMkLst>
        </pc:spChg>
        <pc:spChg chg="del">
          <ac:chgData name="Pauline Smout" userId="3153cd80-1eee-4546-abae-f15e9d00b721" providerId="ADAL" clId="{67DAA9D7-BA8B-4643-A50C-1C61D7C27134}" dt="2022-11-07T15:33:16.861" v="45" actId="478"/>
          <ac:spMkLst>
            <pc:docMk/>
            <pc:sldMk cId="234736888" sldId="2243"/>
            <ac:spMk id="25" creationId="{81E5F67E-D64D-8AF6-9281-656421D825F0}"/>
          </ac:spMkLst>
        </pc:spChg>
        <pc:spChg chg="del">
          <ac:chgData name="Pauline Smout" userId="3153cd80-1eee-4546-abae-f15e9d00b721" providerId="ADAL" clId="{67DAA9D7-BA8B-4643-A50C-1C61D7C27134}" dt="2022-11-07T15:33:16.861" v="45" actId="478"/>
          <ac:spMkLst>
            <pc:docMk/>
            <pc:sldMk cId="234736888" sldId="2243"/>
            <ac:spMk id="26" creationId="{F2DE665A-700C-0790-7E92-156242B58B6A}"/>
          </ac:spMkLst>
        </pc:spChg>
        <pc:spChg chg="del">
          <ac:chgData name="Pauline Smout" userId="3153cd80-1eee-4546-abae-f15e9d00b721" providerId="ADAL" clId="{67DAA9D7-BA8B-4643-A50C-1C61D7C27134}" dt="2022-11-07T15:33:16.861" v="45" actId="478"/>
          <ac:spMkLst>
            <pc:docMk/>
            <pc:sldMk cId="234736888" sldId="2243"/>
            <ac:spMk id="27" creationId="{C8ACB70C-8D5D-65F1-70E4-97D274006F0A}"/>
          </ac:spMkLst>
        </pc:spChg>
        <pc:spChg chg="del">
          <ac:chgData name="Pauline Smout" userId="3153cd80-1eee-4546-abae-f15e9d00b721" providerId="ADAL" clId="{67DAA9D7-BA8B-4643-A50C-1C61D7C27134}" dt="2022-11-07T15:33:16.861" v="45" actId="478"/>
          <ac:spMkLst>
            <pc:docMk/>
            <pc:sldMk cId="234736888" sldId="2243"/>
            <ac:spMk id="28" creationId="{7DEE1C57-0231-C31C-9495-D2D7B4B3FB60}"/>
          </ac:spMkLst>
        </pc:spChg>
        <pc:spChg chg="del">
          <ac:chgData name="Pauline Smout" userId="3153cd80-1eee-4546-abae-f15e9d00b721" providerId="ADAL" clId="{67DAA9D7-BA8B-4643-A50C-1C61D7C27134}" dt="2022-11-07T15:33:16.861" v="45" actId="478"/>
          <ac:spMkLst>
            <pc:docMk/>
            <pc:sldMk cId="234736888" sldId="2243"/>
            <ac:spMk id="29" creationId="{E1AA9B12-646D-0A99-368A-FC498FC2AFE3}"/>
          </ac:spMkLst>
        </pc:spChg>
        <pc:spChg chg="del">
          <ac:chgData name="Pauline Smout" userId="3153cd80-1eee-4546-abae-f15e9d00b721" providerId="ADAL" clId="{67DAA9D7-BA8B-4643-A50C-1C61D7C27134}" dt="2022-11-07T15:33:16.861" v="45" actId="478"/>
          <ac:spMkLst>
            <pc:docMk/>
            <pc:sldMk cId="234736888" sldId="2243"/>
            <ac:spMk id="30" creationId="{96530368-8ED9-639B-7D6F-1EB2A8D3854D}"/>
          </ac:spMkLst>
        </pc:spChg>
        <pc:spChg chg="del">
          <ac:chgData name="Pauline Smout" userId="3153cd80-1eee-4546-abae-f15e9d00b721" providerId="ADAL" clId="{67DAA9D7-BA8B-4643-A50C-1C61D7C27134}" dt="2022-11-07T15:33:16.861" v="45" actId="478"/>
          <ac:spMkLst>
            <pc:docMk/>
            <pc:sldMk cId="234736888" sldId="2243"/>
            <ac:spMk id="31" creationId="{3D256593-101F-AD65-F029-45C9C3509415}"/>
          </ac:spMkLst>
        </pc:spChg>
        <pc:spChg chg="del">
          <ac:chgData name="Pauline Smout" userId="3153cd80-1eee-4546-abae-f15e9d00b721" providerId="ADAL" clId="{67DAA9D7-BA8B-4643-A50C-1C61D7C27134}" dt="2022-11-07T15:33:16.861" v="45" actId="478"/>
          <ac:spMkLst>
            <pc:docMk/>
            <pc:sldMk cId="234736888" sldId="2243"/>
            <ac:spMk id="32" creationId="{51E96ACE-2331-B9C1-11AB-ADF0BD46A1AA}"/>
          </ac:spMkLst>
        </pc:spChg>
        <pc:spChg chg="del">
          <ac:chgData name="Pauline Smout" userId="3153cd80-1eee-4546-abae-f15e9d00b721" providerId="ADAL" clId="{67DAA9D7-BA8B-4643-A50C-1C61D7C27134}" dt="2022-11-07T15:33:16.861" v="45" actId="478"/>
          <ac:spMkLst>
            <pc:docMk/>
            <pc:sldMk cId="234736888" sldId="2243"/>
            <ac:spMk id="33" creationId="{6EA1001B-7A58-A3B6-629D-7D10AF2CE1DC}"/>
          </ac:spMkLst>
        </pc:spChg>
        <pc:spChg chg="del">
          <ac:chgData name="Pauline Smout" userId="3153cd80-1eee-4546-abae-f15e9d00b721" providerId="ADAL" clId="{67DAA9D7-BA8B-4643-A50C-1C61D7C27134}" dt="2022-11-07T15:33:16.861" v="45" actId="478"/>
          <ac:spMkLst>
            <pc:docMk/>
            <pc:sldMk cId="234736888" sldId="2243"/>
            <ac:spMk id="34" creationId="{66965C2A-9BEF-EDB4-2468-950D10BCE838}"/>
          </ac:spMkLst>
        </pc:spChg>
        <pc:spChg chg="del">
          <ac:chgData name="Pauline Smout" userId="3153cd80-1eee-4546-abae-f15e9d00b721" providerId="ADAL" clId="{67DAA9D7-BA8B-4643-A50C-1C61D7C27134}" dt="2022-11-07T15:33:18.718" v="46" actId="478"/>
          <ac:spMkLst>
            <pc:docMk/>
            <pc:sldMk cId="234736888" sldId="2243"/>
            <ac:spMk id="35" creationId="{8025925F-4968-BF39-B8A2-BF43032AAD54}"/>
          </ac:spMkLst>
        </pc:spChg>
        <pc:spChg chg="mod">
          <ac:chgData name="Pauline Smout" userId="3153cd80-1eee-4546-abae-f15e9d00b721" providerId="ADAL" clId="{67DAA9D7-BA8B-4643-A50C-1C61D7C27134}" dt="2022-11-07T15:42:44.518" v="119" actId="108"/>
          <ac:spMkLst>
            <pc:docMk/>
            <pc:sldMk cId="234736888" sldId="2243"/>
            <ac:spMk id="37" creationId="{7E8D5410-08D0-20E9-7D91-0C1BF809CEB7}"/>
          </ac:spMkLst>
        </pc:spChg>
        <pc:spChg chg="mod">
          <ac:chgData name="Pauline Smout" userId="3153cd80-1eee-4546-abae-f15e9d00b721" providerId="ADAL" clId="{67DAA9D7-BA8B-4643-A50C-1C61D7C27134}" dt="2022-11-07T15:42:58.902" v="121" actId="1076"/>
          <ac:spMkLst>
            <pc:docMk/>
            <pc:sldMk cId="234736888" sldId="2243"/>
            <ac:spMk id="38" creationId="{F45E3B01-C1FE-BAAB-B642-312026694C9E}"/>
          </ac:spMkLst>
        </pc:spChg>
        <pc:spChg chg="mod">
          <ac:chgData name="Pauline Smout" userId="3153cd80-1eee-4546-abae-f15e9d00b721" providerId="ADAL" clId="{67DAA9D7-BA8B-4643-A50C-1C61D7C27134}" dt="2022-11-07T15:43:09.546" v="125" actId="465"/>
          <ac:spMkLst>
            <pc:docMk/>
            <pc:sldMk cId="234736888" sldId="2243"/>
            <ac:spMk id="39" creationId="{C94591A8-A89E-0FE2-3C24-5554410D245B}"/>
          </ac:spMkLst>
        </pc:spChg>
        <pc:spChg chg="mod">
          <ac:chgData name="Pauline Smout" userId="3153cd80-1eee-4546-abae-f15e9d00b721" providerId="ADAL" clId="{67DAA9D7-BA8B-4643-A50C-1C61D7C27134}" dt="2022-11-07T15:43:06.711" v="124" actId="465"/>
          <ac:spMkLst>
            <pc:docMk/>
            <pc:sldMk cId="234736888" sldId="2243"/>
            <ac:spMk id="40" creationId="{4D6332F4-C3B2-7ABA-996A-AEFA64F35368}"/>
          </ac:spMkLst>
        </pc:spChg>
        <pc:spChg chg="mod">
          <ac:chgData name="Pauline Smout" userId="3153cd80-1eee-4546-abae-f15e9d00b721" providerId="ADAL" clId="{67DAA9D7-BA8B-4643-A50C-1C61D7C27134}" dt="2022-11-07T15:42:44.518" v="119" actId="108"/>
          <ac:spMkLst>
            <pc:docMk/>
            <pc:sldMk cId="234736888" sldId="2243"/>
            <ac:spMk id="41" creationId="{E29709FE-44FA-7321-E639-72813BAD8CEE}"/>
          </ac:spMkLst>
        </pc:spChg>
        <pc:spChg chg="mod">
          <ac:chgData name="Pauline Smout" userId="3153cd80-1eee-4546-abae-f15e9d00b721" providerId="ADAL" clId="{67DAA9D7-BA8B-4643-A50C-1C61D7C27134}" dt="2022-11-07T15:43:03.466" v="123" actId="108"/>
          <ac:spMkLst>
            <pc:docMk/>
            <pc:sldMk cId="234736888" sldId="2243"/>
            <ac:spMk id="42" creationId="{8C7FD0BC-0C00-8316-8B45-1C0B9882E495}"/>
          </ac:spMkLst>
        </pc:spChg>
        <pc:spChg chg="mod">
          <ac:chgData name="Pauline Smout" userId="3153cd80-1eee-4546-abae-f15e9d00b721" providerId="ADAL" clId="{67DAA9D7-BA8B-4643-A50C-1C61D7C27134}" dt="2022-11-07T15:43:06.711" v="124" actId="465"/>
          <ac:spMkLst>
            <pc:docMk/>
            <pc:sldMk cId="234736888" sldId="2243"/>
            <ac:spMk id="43" creationId="{762048EB-4CD3-A139-EEC6-E42A65A48A37}"/>
          </ac:spMkLst>
        </pc:sp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04F70-1A83-B23C-D0F9-36A5E2347C2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6B8249C-042C-A111-DB18-1A540200667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005E27D-B498-E0CA-A282-79058FFA3123}"/>
              </a:ext>
            </a:extLst>
          </p:cNvPr>
          <p:cNvSpPr>
            <a:spLocks noGrp="1"/>
          </p:cNvSpPr>
          <p:nvPr>
            <p:ph type="dt" sz="half" idx="10"/>
          </p:nvPr>
        </p:nvSpPr>
        <p:spPr/>
        <p:txBody>
          <a:bodyPr/>
          <a:lstStyle/>
          <a:p>
            <a:fld id="{4AC69101-5D9F-4692-862F-0044533EA82A}" type="datetimeFigureOut">
              <a:rPr lang="en-GB" smtClean="0"/>
              <a:t>30/01/2023</a:t>
            </a:fld>
            <a:endParaRPr lang="en-GB"/>
          </a:p>
        </p:txBody>
      </p:sp>
      <p:sp>
        <p:nvSpPr>
          <p:cNvPr id="5" name="Footer Placeholder 4">
            <a:extLst>
              <a:ext uri="{FF2B5EF4-FFF2-40B4-BE49-F238E27FC236}">
                <a16:creationId xmlns:a16="http://schemas.microsoft.com/office/drawing/2014/main" id="{98882AFF-27B5-41CC-1669-190E859FEB5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557B93F-1FC2-6236-668C-FDAF2BBC1B7F}"/>
              </a:ext>
            </a:extLst>
          </p:cNvPr>
          <p:cNvSpPr>
            <a:spLocks noGrp="1"/>
          </p:cNvSpPr>
          <p:nvPr>
            <p:ph type="sldNum" sz="quarter" idx="12"/>
          </p:nvPr>
        </p:nvSpPr>
        <p:spPr/>
        <p:txBody>
          <a:bodyPr/>
          <a:lstStyle/>
          <a:p>
            <a:fld id="{2DAC33D6-9E5B-4F09-A02C-A34C5BEE6261}" type="slidenum">
              <a:rPr lang="en-GB" smtClean="0"/>
              <a:t>‹#›</a:t>
            </a:fld>
            <a:endParaRPr lang="en-GB"/>
          </a:p>
        </p:txBody>
      </p:sp>
    </p:spTree>
    <p:extLst>
      <p:ext uri="{BB962C8B-B14F-4D97-AF65-F5344CB8AC3E}">
        <p14:creationId xmlns:p14="http://schemas.microsoft.com/office/powerpoint/2010/main" val="2919681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46109-C552-AFCA-9895-C8CB36A3741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4A2B889-3999-B08D-09B9-17FEC98AAE7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2D14844-A76F-8796-E718-111C541BFED1}"/>
              </a:ext>
            </a:extLst>
          </p:cNvPr>
          <p:cNvSpPr>
            <a:spLocks noGrp="1"/>
          </p:cNvSpPr>
          <p:nvPr>
            <p:ph type="dt" sz="half" idx="10"/>
          </p:nvPr>
        </p:nvSpPr>
        <p:spPr/>
        <p:txBody>
          <a:bodyPr/>
          <a:lstStyle/>
          <a:p>
            <a:fld id="{4AC69101-5D9F-4692-862F-0044533EA82A}" type="datetimeFigureOut">
              <a:rPr lang="en-GB" smtClean="0"/>
              <a:t>30/01/2023</a:t>
            </a:fld>
            <a:endParaRPr lang="en-GB"/>
          </a:p>
        </p:txBody>
      </p:sp>
      <p:sp>
        <p:nvSpPr>
          <p:cNvPr id="5" name="Footer Placeholder 4">
            <a:extLst>
              <a:ext uri="{FF2B5EF4-FFF2-40B4-BE49-F238E27FC236}">
                <a16:creationId xmlns:a16="http://schemas.microsoft.com/office/drawing/2014/main" id="{138E4890-57BC-425B-3213-E1B3FF6A9A1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3F9C9D4-052A-1B13-2F82-51AF09EFC853}"/>
              </a:ext>
            </a:extLst>
          </p:cNvPr>
          <p:cNvSpPr>
            <a:spLocks noGrp="1"/>
          </p:cNvSpPr>
          <p:nvPr>
            <p:ph type="sldNum" sz="quarter" idx="12"/>
          </p:nvPr>
        </p:nvSpPr>
        <p:spPr/>
        <p:txBody>
          <a:bodyPr/>
          <a:lstStyle/>
          <a:p>
            <a:fld id="{2DAC33D6-9E5B-4F09-A02C-A34C5BEE6261}" type="slidenum">
              <a:rPr lang="en-GB" smtClean="0"/>
              <a:t>‹#›</a:t>
            </a:fld>
            <a:endParaRPr lang="en-GB"/>
          </a:p>
        </p:txBody>
      </p:sp>
    </p:spTree>
    <p:extLst>
      <p:ext uri="{BB962C8B-B14F-4D97-AF65-F5344CB8AC3E}">
        <p14:creationId xmlns:p14="http://schemas.microsoft.com/office/powerpoint/2010/main" val="29252802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E93EFA3-6240-6BB2-F3CB-CA06A230A72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106D0E9-00E5-ABE8-D0CF-C1D88E809B5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ED16B4E-A4B6-7104-BC76-D389FF8C712F}"/>
              </a:ext>
            </a:extLst>
          </p:cNvPr>
          <p:cNvSpPr>
            <a:spLocks noGrp="1"/>
          </p:cNvSpPr>
          <p:nvPr>
            <p:ph type="dt" sz="half" idx="10"/>
          </p:nvPr>
        </p:nvSpPr>
        <p:spPr/>
        <p:txBody>
          <a:bodyPr/>
          <a:lstStyle/>
          <a:p>
            <a:fld id="{4AC69101-5D9F-4692-862F-0044533EA82A}" type="datetimeFigureOut">
              <a:rPr lang="en-GB" smtClean="0"/>
              <a:t>30/01/2023</a:t>
            </a:fld>
            <a:endParaRPr lang="en-GB"/>
          </a:p>
        </p:txBody>
      </p:sp>
      <p:sp>
        <p:nvSpPr>
          <p:cNvPr id="5" name="Footer Placeholder 4">
            <a:extLst>
              <a:ext uri="{FF2B5EF4-FFF2-40B4-BE49-F238E27FC236}">
                <a16:creationId xmlns:a16="http://schemas.microsoft.com/office/drawing/2014/main" id="{11CD111C-C4A9-E185-E0FC-5F81A65B215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2799208-2D8D-6DA7-695F-871F4CE8AD8B}"/>
              </a:ext>
            </a:extLst>
          </p:cNvPr>
          <p:cNvSpPr>
            <a:spLocks noGrp="1"/>
          </p:cNvSpPr>
          <p:nvPr>
            <p:ph type="sldNum" sz="quarter" idx="12"/>
          </p:nvPr>
        </p:nvSpPr>
        <p:spPr/>
        <p:txBody>
          <a:bodyPr/>
          <a:lstStyle/>
          <a:p>
            <a:fld id="{2DAC33D6-9E5B-4F09-A02C-A34C5BEE6261}" type="slidenum">
              <a:rPr lang="en-GB" smtClean="0"/>
              <a:t>‹#›</a:t>
            </a:fld>
            <a:endParaRPr lang="en-GB"/>
          </a:p>
        </p:txBody>
      </p:sp>
    </p:spTree>
    <p:extLst>
      <p:ext uri="{BB962C8B-B14F-4D97-AF65-F5344CB8AC3E}">
        <p14:creationId xmlns:p14="http://schemas.microsoft.com/office/powerpoint/2010/main" val="1733300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04F163BF-1771-4F3E-8F34-78DDAAE52DCA}"/>
              </a:ext>
            </a:extLst>
          </p:cNvPr>
          <p:cNvGraphicFramePr>
            <a:graphicFrameLocks noChangeAspect="1"/>
          </p:cNvGraphicFramePr>
          <p:nvPr userDrawn="1">
            <p:custDataLst>
              <p:tags r:id="rId1"/>
            </p:custDataLst>
            <p:extLst>
              <p:ext uri="{D42A27DB-BD31-4B8C-83A1-F6EECF244321}">
                <p14:modId xmlns:p14="http://schemas.microsoft.com/office/powerpoint/2010/main" val="185613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to 6" hidden="1">
                        <a:extLst>
                          <a:ext uri="{FF2B5EF4-FFF2-40B4-BE49-F238E27FC236}">
                            <a16:creationId xmlns:a16="http://schemas.microsoft.com/office/drawing/2014/main" id="{04F163BF-1771-4F3E-8F34-78DDAAE52D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ángulo 5" hidden="1">
            <a:extLst>
              <a:ext uri="{FF2B5EF4-FFF2-40B4-BE49-F238E27FC236}">
                <a16:creationId xmlns:a16="http://schemas.microsoft.com/office/drawing/2014/main" id="{131A8D14-85C6-4471-8BCF-9C44D62B2F0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5039884" y="4401110"/>
            <a:ext cx="6852079" cy="1007505"/>
          </a:xfrm>
        </p:spPr>
        <p:txBody>
          <a:bodyPr vert="horz" anchor="b">
            <a:normAutofit/>
          </a:bodyPr>
          <a:lstStyle>
            <a:lvl1pPr algn="ctr" rtl="0">
              <a:defRPr sz="2400" b="0">
                <a:solidFill>
                  <a:schemeClr val="tx2"/>
                </a:solidFill>
              </a:defRPr>
            </a:lvl1pPr>
          </a:lstStyle>
          <a:p>
            <a:r>
              <a:rPr lang="en-US"/>
              <a:t>Click to edit Master title style</a:t>
            </a:r>
          </a:p>
        </p:txBody>
      </p:sp>
      <p:sp>
        <p:nvSpPr>
          <p:cNvPr id="3" name="Subtitle 2"/>
          <p:cNvSpPr>
            <a:spLocks noGrp="1"/>
          </p:cNvSpPr>
          <p:nvPr>
            <p:ph type="subTitle" idx="1"/>
          </p:nvPr>
        </p:nvSpPr>
        <p:spPr>
          <a:xfrm>
            <a:off x="5039884" y="5408613"/>
            <a:ext cx="6852079" cy="864604"/>
          </a:xfrm>
        </p:spPr>
        <p:txBody>
          <a:bodyPr>
            <a:normAutofit/>
          </a:bodyPr>
          <a:lstStyle>
            <a:lvl1pPr marL="0" indent="0" algn="ctr" rtl="0">
              <a:buNone/>
              <a:defRPr sz="1600">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Tijdelijke aanduiding voor dianummer 5"/>
          <p:cNvSpPr>
            <a:spLocks noGrp="1"/>
          </p:cNvSpPr>
          <p:nvPr>
            <p:ph type="sldNum" sz="quarter" idx="11"/>
          </p:nvPr>
        </p:nvSpPr>
        <p:spPr>
          <a:xfrm>
            <a:off x="9034263" y="6597650"/>
            <a:ext cx="2844800" cy="260350"/>
          </a:xfrm>
        </p:spPr>
        <p:txBody>
          <a:bodyPr/>
          <a:lstStyle>
            <a:lvl1pPr rtl="0">
              <a:defRPr/>
            </a:lvl1pPr>
          </a:lstStyle>
          <a:p>
            <a:pPr>
              <a:defRPr/>
            </a:pPr>
            <a:fld id="{82166D4F-6228-49F9-B7D9-0546BA6E0F0C}" type="slidenum">
              <a:rPr lang="en-US" smtClean="0"/>
              <a:pPr>
                <a:defRPr/>
              </a:pPr>
              <a:t>‹#›</a:t>
            </a:fld>
            <a:endParaRPr lang="en-US"/>
          </a:p>
        </p:txBody>
      </p:sp>
      <p:sp>
        <p:nvSpPr>
          <p:cNvPr id="8" name="Picture Placeholder 7"/>
          <p:cNvSpPr>
            <a:spLocks noGrp="1"/>
          </p:cNvSpPr>
          <p:nvPr>
            <p:ph type="pic" sz="quarter" idx="12"/>
          </p:nvPr>
        </p:nvSpPr>
        <p:spPr>
          <a:xfrm>
            <a:off x="0" y="3"/>
            <a:ext cx="12192000" cy="4221163"/>
          </a:xfrm>
        </p:spPr>
        <p:txBody>
          <a:bodyPr/>
          <a:lstStyle/>
          <a:p>
            <a:endParaRPr lang="en-US"/>
          </a:p>
        </p:txBody>
      </p:sp>
    </p:spTree>
    <p:extLst>
      <p:ext uri="{BB962C8B-B14F-4D97-AF65-F5344CB8AC3E}">
        <p14:creationId xmlns:p14="http://schemas.microsoft.com/office/powerpoint/2010/main" val="4102847986"/>
      </p:ext>
    </p:extLst>
  </p:cSld>
  <p:clrMapOvr>
    <a:masterClrMapping/>
  </p:clrMapOvr>
  <p:extLst>
    <p:ext uri="{DCECCB84-F9BA-43D5-87BE-67443E8EF086}">
      <p15:sldGuideLst xmlns:p15="http://schemas.microsoft.com/office/powerpoint/2012/main">
        <p15:guide id="1" orient="horz" pos="2772">
          <p15:clr>
            <a:srgbClr val="FBAE40"/>
          </p15:clr>
        </p15:guide>
        <p15:guide id="3" orient="horz" pos="3407">
          <p15:clr>
            <a:srgbClr val="FBAE40"/>
          </p15:clr>
        </p15:guide>
        <p15:guide id="5" orient="horz" pos="3952">
          <p15:clr>
            <a:srgbClr val="FBAE40"/>
          </p15:clr>
        </p15:guide>
        <p15:guide id="6" pos="7287">
          <p15:clr>
            <a:srgbClr val="FBAE40"/>
          </p15:clr>
        </p15:guide>
        <p15:guide id="7" orient="horz" pos="265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itel en object">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3968FD0D-4015-4529-8EDD-C605C12BA3B9}"/>
              </a:ext>
            </a:extLst>
          </p:cNvPr>
          <p:cNvGraphicFramePr>
            <a:graphicFrameLocks noChangeAspect="1"/>
          </p:cNvGraphicFramePr>
          <p:nvPr userDrawn="1">
            <p:custDataLst>
              <p:tags r:id="rId1"/>
            </p:custDataLst>
            <p:extLst>
              <p:ext uri="{D42A27DB-BD31-4B8C-83A1-F6EECF244321}">
                <p14:modId xmlns:p14="http://schemas.microsoft.com/office/powerpoint/2010/main" val="1888457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to 3" hidden="1">
                        <a:extLst>
                          <a:ext uri="{FF2B5EF4-FFF2-40B4-BE49-F238E27FC236}">
                            <a16:creationId xmlns:a16="http://schemas.microsoft.com/office/drawing/2014/main" id="{3968FD0D-4015-4529-8EDD-C605C12BA3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54AFE9DF-D133-46E5-8750-3252525C860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2400" b="0" i="0" baseline="0">
              <a:latin typeface="Calibri Light" panose="020F0302020204030204" pitchFamily="34" charset="0"/>
              <a:ea typeface="+mj-ea"/>
              <a:cs typeface="Calibri" panose="020F0502020204030204" pitchFamily="34" charset="0"/>
              <a:sym typeface="Calibri Light" panose="020F0302020204030204" pitchFamily="34" charset="0"/>
            </a:endParaRPr>
          </a:p>
        </p:txBody>
      </p:sp>
      <p:sp>
        <p:nvSpPr>
          <p:cNvPr id="2" name="Titel 1"/>
          <p:cNvSpPr>
            <a:spLocks noGrp="1"/>
          </p:cNvSpPr>
          <p:nvPr>
            <p:ph type="title" hasCustomPrompt="1"/>
          </p:nvPr>
        </p:nvSpPr>
        <p:spPr>
          <a:xfrm>
            <a:off x="300038" y="260350"/>
            <a:ext cx="11591925" cy="865188"/>
          </a:xfrm>
          <a:prstGeom prst="rect">
            <a:avLst/>
          </a:prstGeom>
        </p:spPr>
        <p:txBody>
          <a:bodyPr vert="horz" anchor="t"/>
          <a:lstStyle>
            <a:lvl1pPr algn="l" rtl="0">
              <a:defRPr sz="2400">
                <a:solidFill>
                  <a:schemeClr val="tx2"/>
                </a:solidFill>
                <a:latin typeface="+mj-lt"/>
                <a:cs typeface="Calibri"/>
              </a:defRPr>
            </a:lvl1pPr>
          </a:lstStyle>
          <a:p>
            <a:r>
              <a:rPr lang="en-US"/>
              <a:t>Action title</a:t>
            </a:r>
          </a:p>
        </p:txBody>
      </p:sp>
      <p:sp>
        <p:nvSpPr>
          <p:cNvPr id="5" name="Tijdelijke aanduiding voor dianummer 5"/>
          <p:cNvSpPr>
            <a:spLocks noGrp="1"/>
          </p:cNvSpPr>
          <p:nvPr>
            <p:ph type="sldNum" sz="quarter" idx="11"/>
          </p:nvPr>
        </p:nvSpPr>
        <p:spPr/>
        <p:txBody>
          <a:bodyPr/>
          <a:lstStyle>
            <a:lvl1pPr rtl="0">
              <a:defRPr/>
            </a:lvl1pPr>
          </a:lstStyle>
          <a:p>
            <a:pPr>
              <a:defRPr/>
            </a:pPr>
            <a:fld id="{3511AAAD-EF1E-485F-855C-0391DFBF607C}" type="slidenum">
              <a:rPr lang="en-US" smtClean="0"/>
              <a:pPr>
                <a:defRPr/>
              </a:pPr>
              <a:t>‹#›</a:t>
            </a:fld>
            <a:endParaRPr lang="en-US"/>
          </a:p>
        </p:txBody>
      </p:sp>
      <p:sp>
        <p:nvSpPr>
          <p:cNvPr id="8" name="Tijdelijke aanduiding voor inhoud 2"/>
          <p:cNvSpPr>
            <a:spLocks noGrp="1"/>
          </p:cNvSpPr>
          <p:nvPr>
            <p:ph idx="12" hasCustomPrompt="1"/>
          </p:nvPr>
        </p:nvSpPr>
        <p:spPr>
          <a:xfrm>
            <a:off x="300037" y="1222659"/>
            <a:ext cx="11591925" cy="358775"/>
          </a:xfrm>
          <a:prstGeom prst="rect">
            <a:avLst/>
          </a:prstGeom>
        </p:spPr>
        <p:txBody>
          <a:bodyPr>
            <a:noAutofit/>
          </a:bodyPr>
          <a:lstStyle>
            <a:lvl1pPr marL="0" indent="0" rtl="0">
              <a:buNone/>
              <a:defRPr lang="en-GB" sz="1800" b="1" kern="1200" dirty="0">
                <a:solidFill>
                  <a:schemeClr val="tx2"/>
                </a:solidFill>
                <a:latin typeface="Calibri" pitchFamily="34" charset="0"/>
                <a:ea typeface="+mn-ea"/>
                <a:cs typeface="+mn-cs"/>
              </a:defRPr>
            </a:lvl1pPr>
            <a:lvl2pPr>
              <a:defRPr sz="1600">
                <a:solidFill>
                  <a:schemeClr val="tx2">
                    <a:lumMod val="50000"/>
                  </a:schemeClr>
                </a:solidFill>
                <a:latin typeface="Calibri"/>
                <a:cs typeface="Calibri"/>
              </a:defRPr>
            </a:lvl2pPr>
            <a:lvl3pPr>
              <a:defRPr sz="1600">
                <a:solidFill>
                  <a:schemeClr val="tx2">
                    <a:lumMod val="50000"/>
                  </a:schemeClr>
                </a:solidFill>
                <a:latin typeface="Calibri"/>
                <a:cs typeface="Calibri"/>
              </a:defRPr>
            </a:lvl3pPr>
            <a:lvl4pPr>
              <a:defRPr sz="1600">
                <a:solidFill>
                  <a:schemeClr val="tx2">
                    <a:lumMod val="50000"/>
                  </a:schemeClr>
                </a:solidFill>
                <a:latin typeface="Calibri"/>
                <a:cs typeface="Calibri"/>
              </a:defRPr>
            </a:lvl4pPr>
            <a:lvl5pPr>
              <a:defRPr sz="1600">
                <a:solidFill>
                  <a:schemeClr val="tx2">
                    <a:lumMod val="50000"/>
                  </a:schemeClr>
                </a:solidFill>
                <a:latin typeface="Calibri"/>
                <a:cs typeface="Calibri"/>
              </a:defRPr>
            </a:lvl5pPr>
          </a:lstStyle>
          <a:p>
            <a:pPr marL="182880" lvl="0" indent="-182880" algn="l" defTabSz="914400" rtl="0" eaLnBrk="1" latinLnBrk="0" hangingPunct="1">
              <a:spcBef>
                <a:spcPct val="20000"/>
              </a:spcBef>
              <a:buFont typeface="Arial" panose="020B0604020202020204" pitchFamily="34" charset="0"/>
              <a:buNone/>
            </a:pPr>
            <a:r>
              <a:rPr lang="en-US"/>
              <a:t>Subtitle</a:t>
            </a:r>
          </a:p>
        </p:txBody>
      </p:sp>
      <p:sp>
        <p:nvSpPr>
          <p:cNvPr id="11" name="Tijdelijke aanduiding voor inhoud 2"/>
          <p:cNvSpPr>
            <a:spLocks noGrp="1"/>
          </p:cNvSpPr>
          <p:nvPr>
            <p:ph idx="1"/>
          </p:nvPr>
        </p:nvSpPr>
        <p:spPr>
          <a:xfrm>
            <a:off x="300040" y="1678552"/>
            <a:ext cx="11591926" cy="4666689"/>
          </a:xfrm>
          <a:prstGeom prst="rect">
            <a:avLst/>
          </a:prstGeom>
        </p:spPr>
        <p:txBody>
          <a:bodyPr/>
          <a:lstStyle>
            <a:lvl1pPr marL="115888" indent="-115888" rtl="0">
              <a:defRPr sz="1600">
                <a:solidFill>
                  <a:schemeClr val="tx2">
                    <a:lumMod val="50000"/>
                  </a:schemeClr>
                </a:solidFill>
                <a:latin typeface="Calibri"/>
                <a:cs typeface="Calibri"/>
              </a:defRPr>
            </a:lvl1pPr>
            <a:lvl2pPr marL="341313" indent="-166688" rtl="0">
              <a:defRPr sz="1600">
                <a:solidFill>
                  <a:schemeClr val="tx2">
                    <a:lumMod val="50000"/>
                  </a:schemeClr>
                </a:solidFill>
                <a:latin typeface="Calibri"/>
                <a:cs typeface="Calibri"/>
              </a:defRPr>
            </a:lvl2pPr>
            <a:lvl3pPr marL="457200" indent="-115888" rtl="0">
              <a:defRPr sz="1600">
                <a:solidFill>
                  <a:schemeClr val="tx2">
                    <a:lumMod val="50000"/>
                  </a:schemeClr>
                </a:solidFill>
                <a:latin typeface="Calibri"/>
                <a:cs typeface="Calibri"/>
              </a:defRPr>
            </a:lvl3pPr>
            <a:lvl4pPr marL="1417320" indent="0">
              <a:buNone/>
              <a:defRPr sz="1600">
                <a:solidFill>
                  <a:schemeClr val="tx2">
                    <a:lumMod val="50000"/>
                  </a:schemeClr>
                </a:solidFill>
                <a:latin typeface="Calibri"/>
                <a:cs typeface="Calibri"/>
              </a:defRPr>
            </a:lvl4pPr>
            <a:lvl5pPr>
              <a:defRPr sz="1600">
                <a:solidFill>
                  <a:schemeClr val="tx2">
                    <a:lumMod val="50000"/>
                  </a:schemeClr>
                </a:solidFill>
                <a:latin typeface="Calibri"/>
                <a:cs typeface="Calibri"/>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32608288"/>
      </p:ext>
    </p:extLst>
  </p:cSld>
  <p:clrMapOvr>
    <a:masterClrMapping/>
  </p:clrMapOvr>
  <p:extLst>
    <p:ext uri="{DCECCB84-F9BA-43D5-87BE-67443E8EF086}">
      <p15:sldGuideLst xmlns:p15="http://schemas.microsoft.com/office/powerpoint/2012/main">
        <p15:guide id="1" pos="393">
          <p15:clr>
            <a:srgbClr val="FBAE40"/>
          </p15:clr>
        </p15:guide>
        <p15:guide id="2" pos="7287">
          <p15:clr>
            <a:srgbClr val="FBAE40"/>
          </p15:clr>
        </p15:guide>
        <p15:guide id="3" orient="horz" pos="709">
          <p15:clr>
            <a:srgbClr val="FBAE40"/>
          </p15:clr>
        </p15:guide>
        <p15:guide id="4" orient="horz" pos="1003">
          <p15:clr>
            <a:srgbClr val="FBAE40"/>
          </p15:clr>
        </p15:guide>
        <p15:guide id="5" orient="horz" pos="3997">
          <p15:clr>
            <a:srgbClr val="FBAE40"/>
          </p15:clr>
        </p15:guide>
        <p15:guide id="6" orient="horz" pos="16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DEA486A8-F1E9-4A0E-904A-B57812D554D0}"/>
              </a:ext>
            </a:extLst>
          </p:cNvPr>
          <p:cNvGraphicFramePr>
            <a:graphicFrameLocks noChangeAspect="1"/>
          </p:cNvGraphicFramePr>
          <p:nvPr userDrawn="1">
            <p:custDataLst>
              <p:tags r:id="rId1"/>
            </p:custDataLst>
            <p:extLst>
              <p:ext uri="{D42A27DB-BD31-4B8C-83A1-F6EECF244321}">
                <p14:modId xmlns:p14="http://schemas.microsoft.com/office/powerpoint/2010/main" val="3342962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to 1" hidden="1">
                        <a:extLst>
                          <a:ext uri="{FF2B5EF4-FFF2-40B4-BE49-F238E27FC236}">
                            <a16:creationId xmlns:a16="http://schemas.microsoft.com/office/drawing/2014/main" id="{DEA486A8-F1E9-4A0E-904A-B57812D554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jdelijke aanduiding voor dianummer 5"/>
          <p:cNvSpPr>
            <a:spLocks noGrp="1"/>
          </p:cNvSpPr>
          <p:nvPr>
            <p:ph type="sldNum" sz="quarter" idx="11"/>
          </p:nvPr>
        </p:nvSpPr>
        <p:spPr>
          <a:xfrm>
            <a:off x="9047163" y="6597650"/>
            <a:ext cx="2844800" cy="166688"/>
          </a:xfrm>
        </p:spPr>
        <p:txBody>
          <a:bodyPr/>
          <a:lstStyle>
            <a:lvl1pPr rtl="0">
              <a:defRPr/>
            </a:lvl1pPr>
          </a:lstStyle>
          <a:p>
            <a:pPr>
              <a:defRPr/>
            </a:pPr>
            <a:fld id="{82166D4F-6228-49F9-B7D9-0546BA6E0F0C}" type="slidenum">
              <a:rPr lang="en-US" smtClean="0"/>
              <a:pPr>
                <a:defRPr/>
              </a:pPr>
              <a:t>‹#›</a:t>
            </a:fld>
            <a:endParaRPr lang="en-US"/>
          </a:p>
        </p:txBody>
      </p:sp>
      <p:sp>
        <p:nvSpPr>
          <p:cNvPr id="4" name="TextBox 3"/>
          <p:cNvSpPr txBox="1"/>
          <p:nvPr userDrawn="1"/>
        </p:nvSpPr>
        <p:spPr>
          <a:xfrm>
            <a:off x="300037" y="6197540"/>
            <a:ext cx="11591925" cy="400110"/>
          </a:xfrm>
          <a:prstGeom prst="rect">
            <a:avLst/>
          </a:prstGeom>
          <a:noFill/>
        </p:spPr>
        <p:txBody>
          <a:bodyPr wrap="square" rtlCol="0">
            <a:spAutoFit/>
          </a:bodyPr>
          <a:lstStyle/>
          <a:p>
            <a:pPr rtl="0"/>
            <a:r>
              <a:rPr lang="en-US" sz="1000">
                <a:solidFill>
                  <a:schemeClr val="tx1">
                    <a:lumMod val="50000"/>
                    <a:lumOff val="50000"/>
                  </a:schemeClr>
                </a:solidFill>
              </a:rPr>
              <a:t>© NewForesight, registered with the trade register in the Netherlands under number 32160245. All rights reserved. Printed in the Netherlands. The NewForesight  name, logo and ‘leading in sustainable market transformation’ are registered trademarks or trademarks.</a:t>
            </a:r>
          </a:p>
        </p:txBody>
      </p:sp>
    </p:spTree>
    <p:extLst>
      <p:ext uri="{BB962C8B-B14F-4D97-AF65-F5344CB8AC3E}">
        <p14:creationId xmlns:p14="http://schemas.microsoft.com/office/powerpoint/2010/main" val="1923618913"/>
      </p:ext>
    </p:extLst>
  </p:cSld>
  <p:clrMapOvr>
    <a:masterClrMapping/>
  </p:clrMapOvr>
  <p:extLst>
    <p:ext uri="{DCECCB84-F9BA-43D5-87BE-67443E8EF086}">
      <p15:sldGuideLst xmlns:p15="http://schemas.microsoft.com/office/powerpoint/2012/main">
        <p15:guide id="1" pos="7287">
          <p15:clr>
            <a:srgbClr val="FBAE40"/>
          </p15:clr>
        </p15:guide>
        <p15:guide id="2" orient="horz" pos="16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75F8C-3F37-58BD-0FB0-4045C8CB31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E7E2204-E836-7B35-4802-4220E65F6A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F656A50-227C-F063-DA46-BD034DC12640}"/>
              </a:ext>
            </a:extLst>
          </p:cNvPr>
          <p:cNvSpPr>
            <a:spLocks noGrp="1"/>
          </p:cNvSpPr>
          <p:nvPr>
            <p:ph type="dt" sz="half" idx="10"/>
          </p:nvPr>
        </p:nvSpPr>
        <p:spPr/>
        <p:txBody>
          <a:bodyPr/>
          <a:lstStyle/>
          <a:p>
            <a:fld id="{4AC69101-5D9F-4692-862F-0044533EA82A}" type="datetimeFigureOut">
              <a:rPr lang="en-GB" smtClean="0"/>
              <a:t>30/01/2023</a:t>
            </a:fld>
            <a:endParaRPr lang="en-GB"/>
          </a:p>
        </p:txBody>
      </p:sp>
      <p:sp>
        <p:nvSpPr>
          <p:cNvPr id="5" name="Footer Placeholder 4">
            <a:extLst>
              <a:ext uri="{FF2B5EF4-FFF2-40B4-BE49-F238E27FC236}">
                <a16:creationId xmlns:a16="http://schemas.microsoft.com/office/drawing/2014/main" id="{B66D5F56-A4FB-AC92-51EE-29DC8296381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DA635D9-C9E5-57E4-4FC6-9987B5A3C69B}"/>
              </a:ext>
            </a:extLst>
          </p:cNvPr>
          <p:cNvSpPr>
            <a:spLocks noGrp="1"/>
          </p:cNvSpPr>
          <p:nvPr>
            <p:ph type="sldNum" sz="quarter" idx="12"/>
          </p:nvPr>
        </p:nvSpPr>
        <p:spPr/>
        <p:txBody>
          <a:bodyPr/>
          <a:lstStyle/>
          <a:p>
            <a:fld id="{2DAC33D6-9E5B-4F09-A02C-A34C5BEE6261}" type="slidenum">
              <a:rPr lang="en-GB" smtClean="0"/>
              <a:t>‹#›</a:t>
            </a:fld>
            <a:endParaRPr lang="en-GB"/>
          </a:p>
        </p:txBody>
      </p:sp>
    </p:spTree>
    <p:extLst>
      <p:ext uri="{BB962C8B-B14F-4D97-AF65-F5344CB8AC3E}">
        <p14:creationId xmlns:p14="http://schemas.microsoft.com/office/powerpoint/2010/main" val="28695770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CEC58-8546-D833-6F85-869DE88A24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76AF934-C30F-4902-8103-B0FAF24314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C138E2-2A5A-FD51-8971-2A76176FEB2D}"/>
              </a:ext>
            </a:extLst>
          </p:cNvPr>
          <p:cNvSpPr>
            <a:spLocks noGrp="1"/>
          </p:cNvSpPr>
          <p:nvPr>
            <p:ph type="dt" sz="half" idx="10"/>
          </p:nvPr>
        </p:nvSpPr>
        <p:spPr/>
        <p:txBody>
          <a:bodyPr/>
          <a:lstStyle/>
          <a:p>
            <a:fld id="{4AC69101-5D9F-4692-862F-0044533EA82A}" type="datetimeFigureOut">
              <a:rPr lang="en-GB" smtClean="0"/>
              <a:t>30/01/2023</a:t>
            </a:fld>
            <a:endParaRPr lang="en-GB"/>
          </a:p>
        </p:txBody>
      </p:sp>
      <p:sp>
        <p:nvSpPr>
          <p:cNvPr id="5" name="Footer Placeholder 4">
            <a:extLst>
              <a:ext uri="{FF2B5EF4-FFF2-40B4-BE49-F238E27FC236}">
                <a16:creationId xmlns:a16="http://schemas.microsoft.com/office/drawing/2014/main" id="{E9E85561-9616-0F95-956F-969607650B9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CCC80B5-FC6E-A0B5-B48E-5AE9007E012A}"/>
              </a:ext>
            </a:extLst>
          </p:cNvPr>
          <p:cNvSpPr>
            <a:spLocks noGrp="1"/>
          </p:cNvSpPr>
          <p:nvPr>
            <p:ph type="sldNum" sz="quarter" idx="12"/>
          </p:nvPr>
        </p:nvSpPr>
        <p:spPr/>
        <p:txBody>
          <a:bodyPr/>
          <a:lstStyle/>
          <a:p>
            <a:fld id="{2DAC33D6-9E5B-4F09-A02C-A34C5BEE6261}" type="slidenum">
              <a:rPr lang="en-GB" smtClean="0"/>
              <a:t>‹#›</a:t>
            </a:fld>
            <a:endParaRPr lang="en-GB"/>
          </a:p>
        </p:txBody>
      </p:sp>
    </p:spTree>
    <p:extLst>
      <p:ext uri="{BB962C8B-B14F-4D97-AF65-F5344CB8AC3E}">
        <p14:creationId xmlns:p14="http://schemas.microsoft.com/office/powerpoint/2010/main" val="1070156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C6AE8-B693-EFDD-ED70-CE0B16D024C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9B3B813-4243-507C-4EDB-516B35223FC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A87F8E8-86EF-E35E-A2E1-8A0955F3D7F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6D4F1C5-A1A3-8525-21F5-60F77A55337E}"/>
              </a:ext>
            </a:extLst>
          </p:cNvPr>
          <p:cNvSpPr>
            <a:spLocks noGrp="1"/>
          </p:cNvSpPr>
          <p:nvPr>
            <p:ph type="dt" sz="half" idx="10"/>
          </p:nvPr>
        </p:nvSpPr>
        <p:spPr/>
        <p:txBody>
          <a:bodyPr/>
          <a:lstStyle/>
          <a:p>
            <a:fld id="{4AC69101-5D9F-4692-862F-0044533EA82A}" type="datetimeFigureOut">
              <a:rPr lang="en-GB" smtClean="0"/>
              <a:t>30/01/2023</a:t>
            </a:fld>
            <a:endParaRPr lang="en-GB"/>
          </a:p>
        </p:txBody>
      </p:sp>
      <p:sp>
        <p:nvSpPr>
          <p:cNvPr id="6" name="Footer Placeholder 5">
            <a:extLst>
              <a:ext uri="{FF2B5EF4-FFF2-40B4-BE49-F238E27FC236}">
                <a16:creationId xmlns:a16="http://schemas.microsoft.com/office/drawing/2014/main" id="{FA6D9137-600C-D028-AFCD-0FCF3607AAC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7ABF7A9-048A-7CD5-A94F-4A05C2B7C060}"/>
              </a:ext>
            </a:extLst>
          </p:cNvPr>
          <p:cNvSpPr>
            <a:spLocks noGrp="1"/>
          </p:cNvSpPr>
          <p:nvPr>
            <p:ph type="sldNum" sz="quarter" idx="12"/>
          </p:nvPr>
        </p:nvSpPr>
        <p:spPr/>
        <p:txBody>
          <a:bodyPr/>
          <a:lstStyle/>
          <a:p>
            <a:fld id="{2DAC33D6-9E5B-4F09-A02C-A34C5BEE6261}" type="slidenum">
              <a:rPr lang="en-GB" smtClean="0"/>
              <a:t>‹#›</a:t>
            </a:fld>
            <a:endParaRPr lang="en-GB"/>
          </a:p>
        </p:txBody>
      </p:sp>
    </p:spTree>
    <p:extLst>
      <p:ext uri="{BB962C8B-B14F-4D97-AF65-F5344CB8AC3E}">
        <p14:creationId xmlns:p14="http://schemas.microsoft.com/office/powerpoint/2010/main" val="39142742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06DF9-FFEB-FE7B-0915-0DAFEE22E43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C5B6D3C-5046-212D-B61F-2BA381219A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D4F000-DAFD-DD8F-C470-FE338F66D82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D981DD7-D2CE-B336-AC03-755387131DE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2C0E29D-3902-AF56-F931-79EDD1321A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1507801-B5FA-DA2C-341B-4FC555E59C5F}"/>
              </a:ext>
            </a:extLst>
          </p:cNvPr>
          <p:cNvSpPr>
            <a:spLocks noGrp="1"/>
          </p:cNvSpPr>
          <p:nvPr>
            <p:ph type="dt" sz="half" idx="10"/>
          </p:nvPr>
        </p:nvSpPr>
        <p:spPr/>
        <p:txBody>
          <a:bodyPr/>
          <a:lstStyle/>
          <a:p>
            <a:fld id="{4AC69101-5D9F-4692-862F-0044533EA82A}" type="datetimeFigureOut">
              <a:rPr lang="en-GB" smtClean="0"/>
              <a:t>30/01/2023</a:t>
            </a:fld>
            <a:endParaRPr lang="en-GB"/>
          </a:p>
        </p:txBody>
      </p:sp>
      <p:sp>
        <p:nvSpPr>
          <p:cNvPr id="8" name="Footer Placeholder 7">
            <a:extLst>
              <a:ext uri="{FF2B5EF4-FFF2-40B4-BE49-F238E27FC236}">
                <a16:creationId xmlns:a16="http://schemas.microsoft.com/office/drawing/2014/main" id="{ED06C295-93C5-EFF6-BBE6-91B55375C95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EECD24C-F56A-43B1-242E-DF00F1431DF1}"/>
              </a:ext>
            </a:extLst>
          </p:cNvPr>
          <p:cNvSpPr>
            <a:spLocks noGrp="1"/>
          </p:cNvSpPr>
          <p:nvPr>
            <p:ph type="sldNum" sz="quarter" idx="12"/>
          </p:nvPr>
        </p:nvSpPr>
        <p:spPr/>
        <p:txBody>
          <a:bodyPr/>
          <a:lstStyle/>
          <a:p>
            <a:fld id="{2DAC33D6-9E5B-4F09-A02C-A34C5BEE6261}" type="slidenum">
              <a:rPr lang="en-GB" smtClean="0"/>
              <a:t>‹#›</a:t>
            </a:fld>
            <a:endParaRPr lang="en-GB"/>
          </a:p>
        </p:txBody>
      </p:sp>
    </p:spTree>
    <p:extLst>
      <p:ext uri="{BB962C8B-B14F-4D97-AF65-F5344CB8AC3E}">
        <p14:creationId xmlns:p14="http://schemas.microsoft.com/office/powerpoint/2010/main" val="25859187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C884D4-979D-6E79-5C2E-41C90699FD5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547C5AE-0F7A-06AC-41BF-89B0395616EF}"/>
              </a:ext>
            </a:extLst>
          </p:cNvPr>
          <p:cNvSpPr>
            <a:spLocks noGrp="1"/>
          </p:cNvSpPr>
          <p:nvPr>
            <p:ph type="dt" sz="half" idx="10"/>
          </p:nvPr>
        </p:nvSpPr>
        <p:spPr/>
        <p:txBody>
          <a:bodyPr/>
          <a:lstStyle/>
          <a:p>
            <a:fld id="{4AC69101-5D9F-4692-862F-0044533EA82A}" type="datetimeFigureOut">
              <a:rPr lang="en-GB" smtClean="0"/>
              <a:t>30/01/2023</a:t>
            </a:fld>
            <a:endParaRPr lang="en-GB"/>
          </a:p>
        </p:txBody>
      </p:sp>
      <p:sp>
        <p:nvSpPr>
          <p:cNvPr id="4" name="Footer Placeholder 3">
            <a:extLst>
              <a:ext uri="{FF2B5EF4-FFF2-40B4-BE49-F238E27FC236}">
                <a16:creationId xmlns:a16="http://schemas.microsoft.com/office/drawing/2014/main" id="{22806B9C-DC9C-4E49-823A-663EB9E67C4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CD9CE16-1AAD-1628-EB7F-120AE0CB31F1}"/>
              </a:ext>
            </a:extLst>
          </p:cNvPr>
          <p:cNvSpPr>
            <a:spLocks noGrp="1"/>
          </p:cNvSpPr>
          <p:nvPr>
            <p:ph type="sldNum" sz="quarter" idx="12"/>
          </p:nvPr>
        </p:nvSpPr>
        <p:spPr/>
        <p:txBody>
          <a:bodyPr/>
          <a:lstStyle/>
          <a:p>
            <a:fld id="{2DAC33D6-9E5B-4F09-A02C-A34C5BEE6261}" type="slidenum">
              <a:rPr lang="en-GB" smtClean="0"/>
              <a:t>‹#›</a:t>
            </a:fld>
            <a:endParaRPr lang="en-GB"/>
          </a:p>
        </p:txBody>
      </p:sp>
    </p:spTree>
    <p:extLst>
      <p:ext uri="{BB962C8B-B14F-4D97-AF65-F5344CB8AC3E}">
        <p14:creationId xmlns:p14="http://schemas.microsoft.com/office/powerpoint/2010/main" val="3513708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1AF1D8-4A9C-F018-DA20-62C43CAF7910}"/>
              </a:ext>
            </a:extLst>
          </p:cNvPr>
          <p:cNvSpPr>
            <a:spLocks noGrp="1"/>
          </p:cNvSpPr>
          <p:nvPr>
            <p:ph type="dt" sz="half" idx="10"/>
          </p:nvPr>
        </p:nvSpPr>
        <p:spPr/>
        <p:txBody>
          <a:bodyPr/>
          <a:lstStyle/>
          <a:p>
            <a:fld id="{4AC69101-5D9F-4692-862F-0044533EA82A}" type="datetimeFigureOut">
              <a:rPr lang="en-GB" smtClean="0"/>
              <a:t>30/01/2023</a:t>
            </a:fld>
            <a:endParaRPr lang="en-GB"/>
          </a:p>
        </p:txBody>
      </p:sp>
      <p:sp>
        <p:nvSpPr>
          <p:cNvPr id="3" name="Footer Placeholder 2">
            <a:extLst>
              <a:ext uri="{FF2B5EF4-FFF2-40B4-BE49-F238E27FC236}">
                <a16:creationId xmlns:a16="http://schemas.microsoft.com/office/drawing/2014/main" id="{D4F0788D-1BB2-50A7-822B-1890C979B401}"/>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58F824A-99EE-ABAD-7168-97D80AB328B1}"/>
              </a:ext>
            </a:extLst>
          </p:cNvPr>
          <p:cNvSpPr>
            <a:spLocks noGrp="1"/>
          </p:cNvSpPr>
          <p:nvPr>
            <p:ph type="sldNum" sz="quarter" idx="12"/>
          </p:nvPr>
        </p:nvSpPr>
        <p:spPr/>
        <p:txBody>
          <a:bodyPr/>
          <a:lstStyle/>
          <a:p>
            <a:fld id="{2DAC33D6-9E5B-4F09-A02C-A34C5BEE6261}" type="slidenum">
              <a:rPr lang="en-GB" smtClean="0"/>
              <a:t>‹#›</a:t>
            </a:fld>
            <a:endParaRPr lang="en-GB"/>
          </a:p>
        </p:txBody>
      </p:sp>
    </p:spTree>
    <p:extLst>
      <p:ext uri="{BB962C8B-B14F-4D97-AF65-F5344CB8AC3E}">
        <p14:creationId xmlns:p14="http://schemas.microsoft.com/office/powerpoint/2010/main" val="23746329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EC15B-918F-8043-6C62-98333BC132D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2F2B8A0-40AF-07FA-28D5-88F65C12462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AD5DFD7-5F32-5D87-7193-715455A00A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2CE94E9-1E1C-8818-FBD0-08964F3C2E29}"/>
              </a:ext>
            </a:extLst>
          </p:cNvPr>
          <p:cNvSpPr>
            <a:spLocks noGrp="1"/>
          </p:cNvSpPr>
          <p:nvPr>
            <p:ph type="dt" sz="half" idx="10"/>
          </p:nvPr>
        </p:nvSpPr>
        <p:spPr/>
        <p:txBody>
          <a:bodyPr/>
          <a:lstStyle/>
          <a:p>
            <a:fld id="{4AC69101-5D9F-4692-862F-0044533EA82A}" type="datetimeFigureOut">
              <a:rPr lang="en-GB" smtClean="0"/>
              <a:t>30/01/2023</a:t>
            </a:fld>
            <a:endParaRPr lang="en-GB"/>
          </a:p>
        </p:txBody>
      </p:sp>
      <p:sp>
        <p:nvSpPr>
          <p:cNvPr id="6" name="Footer Placeholder 5">
            <a:extLst>
              <a:ext uri="{FF2B5EF4-FFF2-40B4-BE49-F238E27FC236}">
                <a16:creationId xmlns:a16="http://schemas.microsoft.com/office/drawing/2014/main" id="{A36CC3D5-6B36-6A93-3386-B776811D33B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2C82B22-7AB8-D39C-1B1C-F36422C64AE6}"/>
              </a:ext>
            </a:extLst>
          </p:cNvPr>
          <p:cNvSpPr>
            <a:spLocks noGrp="1"/>
          </p:cNvSpPr>
          <p:nvPr>
            <p:ph type="sldNum" sz="quarter" idx="12"/>
          </p:nvPr>
        </p:nvSpPr>
        <p:spPr/>
        <p:txBody>
          <a:bodyPr/>
          <a:lstStyle/>
          <a:p>
            <a:fld id="{2DAC33D6-9E5B-4F09-A02C-A34C5BEE6261}" type="slidenum">
              <a:rPr lang="en-GB" smtClean="0"/>
              <a:t>‹#›</a:t>
            </a:fld>
            <a:endParaRPr lang="en-GB"/>
          </a:p>
        </p:txBody>
      </p:sp>
    </p:spTree>
    <p:extLst>
      <p:ext uri="{BB962C8B-B14F-4D97-AF65-F5344CB8AC3E}">
        <p14:creationId xmlns:p14="http://schemas.microsoft.com/office/powerpoint/2010/main" val="1355269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2982A-4DB7-390A-C163-A6235D3F8D5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8DCAE23-BA17-06BD-7613-576A3DF810A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CDCF8A4-33BD-68C8-D6B9-D0D4562CBF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6B13ECE-3675-573B-0DCB-2DBAA6E28B42}"/>
              </a:ext>
            </a:extLst>
          </p:cNvPr>
          <p:cNvSpPr>
            <a:spLocks noGrp="1"/>
          </p:cNvSpPr>
          <p:nvPr>
            <p:ph type="dt" sz="half" idx="10"/>
          </p:nvPr>
        </p:nvSpPr>
        <p:spPr/>
        <p:txBody>
          <a:bodyPr/>
          <a:lstStyle/>
          <a:p>
            <a:fld id="{4AC69101-5D9F-4692-862F-0044533EA82A}" type="datetimeFigureOut">
              <a:rPr lang="en-GB" smtClean="0"/>
              <a:t>30/01/2023</a:t>
            </a:fld>
            <a:endParaRPr lang="en-GB"/>
          </a:p>
        </p:txBody>
      </p:sp>
      <p:sp>
        <p:nvSpPr>
          <p:cNvPr id="6" name="Footer Placeholder 5">
            <a:extLst>
              <a:ext uri="{FF2B5EF4-FFF2-40B4-BE49-F238E27FC236}">
                <a16:creationId xmlns:a16="http://schemas.microsoft.com/office/drawing/2014/main" id="{65B279ED-A690-9003-2948-2158DF6F3CF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E65AFAC-409A-DF2B-2DFF-978BA35387C8}"/>
              </a:ext>
            </a:extLst>
          </p:cNvPr>
          <p:cNvSpPr>
            <a:spLocks noGrp="1"/>
          </p:cNvSpPr>
          <p:nvPr>
            <p:ph type="sldNum" sz="quarter" idx="12"/>
          </p:nvPr>
        </p:nvSpPr>
        <p:spPr/>
        <p:txBody>
          <a:bodyPr/>
          <a:lstStyle/>
          <a:p>
            <a:fld id="{2DAC33D6-9E5B-4F09-A02C-A34C5BEE6261}" type="slidenum">
              <a:rPr lang="en-GB" smtClean="0"/>
              <a:t>‹#›</a:t>
            </a:fld>
            <a:endParaRPr lang="en-GB"/>
          </a:p>
        </p:txBody>
      </p:sp>
    </p:spTree>
    <p:extLst>
      <p:ext uri="{BB962C8B-B14F-4D97-AF65-F5344CB8AC3E}">
        <p14:creationId xmlns:p14="http://schemas.microsoft.com/office/powerpoint/2010/main" val="38396338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DB9DA1-274E-B83C-7375-00DD079F6E8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CCF3879-D387-A8CD-EC00-FC6F5E08E78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00348AD-54BF-96DC-F24D-0BF876B5CC9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C69101-5D9F-4692-862F-0044533EA82A}" type="datetimeFigureOut">
              <a:rPr lang="en-GB" smtClean="0"/>
              <a:t>30/01/2023</a:t>
            </a:fld>
            <a:endParaRPr lang="en-GB"/>
          </a:p>
        </p:txBody>
      </p:sp>
      <p:sp>
        <p:nvSpPr>
          <p:cNvPr id="5" name="Footer Placeholder 4">
            <a:extLst>
              <a:ext uri="{FF2B5EF4-FFF2-40B4-BE49-F238E27FC236}">
                <a16:creationId xmlns:a16="http://schemas.microsoft.com/office/drawing/2014/main" id="{3B71E0EF-F72F-C190-2AFD-CF96E982AD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82D25315-86B2-AEC6-D4C1-12F2DB384EA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AC33D6-9E5B-4F09-A02C-A34C5BEE6261}" type="slidenum">
              <a:rPr lang="en-GB" smtClean="0"/>
              <a:t>‹#›</a:t>
            </a:fld>
            <a:endParaRPr lang="en-GB"/>
          </a:p>
        </p:txBody>
      </p:sp>
    </p:spTree>
    <p:extLst>
      <p:ext uri="{BB962C8B-B14F-4D97-AF65-F5344CB8AC3E}">
        <p14:creationId xmlns:p14="http://schemas.microsoft.com/office/powerpoint/2010/main" val="129626813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53092215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ángulo 5" hidden="1">
            <a:extLst>
              <a:ext uri="{FF2B5EF4-FFF2-40B4-BE49-F238E27FC236}">
                <a16:creationId xmlns:a16="http://schemas.microsoft.com/office/drawing/2014/main" id="{691B27FB-4F35-418D-BA09-8240E8D91359}"/>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10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300039" y="228600"/>
            <a:ext cx="11591924" cy="8382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300039" y="1143000"/>
            <a:ext cx="11591924" cy="5257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jdelijke aanduiding voor dianummer 5"/>
          <p:cNvSpPr>
            <a:spLocks noGrp="1"/>
          </p:cNvSpPr>
          <p:nvPr>
            <p:ph type="sldNum" sz="quarter" idx="4"/>
          </p:nvPr>
        </p:nvSpPr>
        <p:spPr>
          <a:xfrm>
            <a:off x="8963835" y="6621920"/>
            <a:ext cx="2928128" cy="227459"/>
          </a:xfrm>
          <a:prstGeom prst="rect">
            <a:avLst/>
          </a:prstGeom>
          <a:ln>
            <a:noFill/>
          </a:ln>
        </p:spPr>
        <p:txBody>
          <a:bodyPr vert="horz" wrap="square" lIns="91440" tIns="45720" rIns="91440" bIns="45720" numCol="1" anchor="ctr" anchorCtr="0" compatLnSpc="1">
            <a:prstTxWarp prst="textNoShape">
              <a:avLst/>
            </a:prstTxWarp>
          </a:bodyPr>
          <a:lstStyle>
            <a:lvl1pPr algn="r" rtl="0">
              <a:defRPr sz="1000" b="0">
                <a:solidFill>
                  <a:srgbClr val="163862"/>
                </a:solidFill>
                <a:latin typeface="Calibri" charset="0"/>
                <a:ea typeface="ＭＳ Ｐゴシック" charset="-128"/>
              </a:defRPr>
            </a:lvl1pPr>
          </a:lstStyle>
          <a:p>
            <a:pPr>
              <a:defRPr/>
            </a:pPr>
            <a:fld id="{645E3221-8858-4699-8CD7-9254074A93AD}" type="slidenum">
              <a:rPr lang="en-US" smtClean="0"/>
              <a:pPr>
                <a:defRPr/>
              </a:pPr>
              <a:t>‹#›</a:t>
            </a:fld>
            <a:endParaRPr lang="en-US"/>
          </a:p>
        </p:txBody>
      </p:sp>
      <p:sp>
        <p:nvSpPr>
          <p:cNvPr id="7" name="Tekstvak 1"/>
          <p:cNvSpPr txBox="1">
            <a:spLocks noChangeArrowheads="1"/>
          </p:cNvSpPr>
          <p:nvPr userDrawn="1"/>
        </p:nvSpPr>
        <p:spPr bwMode="auto">
          <a:xfrm>
            <a:off x="3983568" y="6603159"/>
            <a:ext cx="4224867" cy="246221"/>
          </a:xfrm>
          <a:prstGeom prst="rect">
            <a:avLst/>
          </a:prstGeom>
          <a:noFill/>
          <a:ln>
            <a:noFill/>
          </a:ln>
        </p:spPr>
        <p:txBody>
          <a:bodyPr>
            <a:prstTxWarp prst="textNoShape">
              <a:avLst/>
            </a:prstTxWarp>
            <a:spAutoFit/>
          </a:bodyPr>
          <a:lstStyle/>
          <a:p>
            <a:pPr algn="ctr" rtl="0"/>
            <a:r>
              <a:rPr lang="en-US" sz="1000">
                <a:solidFill>
                  <a:srgbClr val="163862"/>
                </a:solidFill>
                <a:latin typeface="Calibri"/>
                <a:cs typeface="Calibri"/>
              </a:rPr>
              <a:t>©NewForesight | All rights reserved</a:t>
            </a:r>
          </a:p>
        </p:txBody>
      </p:sp>
    </p:spTree>
    <p:extLst>
      <p:ext uri="{BB962C8B-B14F-4D97-AF65-F5344CB8AC3E}">
        <p14:creationId xmlns:p14="http://schemas.microsoft.com/office/powerpoint/2010/main" val="33939560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p:txStyles>
    <p:titleStyle>
      <a:lvl1pPr algn="l" defTabSz="914400" rtl="0" eaLnBrk="1" latinLnBrk="0" hangingPunct="1">
        <a:spcBef>
          <a:spcPct val="0"/>
        </a:spcBef>
        <a:buNone/>
        <a:defRPr sz="2400" b="0" kern="1200">
          <a:solidFill>
            <a:schemeClr val="tx2"/>
          </a:solidFill>
          <a:latin typeface="+mj-lt"/>
          <a:ea typeface="+mj-ea"/>
          <a:cs typeface="+mj-cs"/>
        </a:defRPr>
      </a:lvl1pPr>
    </p:titleStyle>
    <p:bodyStyle>
      <a:lvl1pPr marL="177800" indent="-1778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1pPr>
      <a:lvl2pPr marL="355600" indent="-1778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33400" indent="-177800" algn="l" defTabSz="914400" rtl="0" eaLnBrk="1" latinLnBrk="0" hangingPunct="1">
        <a:spcBef>
          <a:spcPct val="20000"/>
        </a:spcBef>
        <a:buFont typeface="Arial" panose="020B0604020202020204" pitchFamily="34" charset="0"/>
        <a:buChar char="•"/>
        <a:tabLst>
          <a:tab pos="355600" algn="l"/>
        </a:tabLst>
        <a:defRPr sz="1400" kern="1200">
          <a:solidFill>
            <a:schemeClr val="tx1"/>
          </a:solidFill>
          <a:latin typeface="+mn-lt"/>
          <a:ea typeface="+mn-ea"/>
          <a:cs typeface="+mn-cs"/>
        </a:defRPr>
      </a:lvl3pPr>
      <a:lvl4pPr marL="723900" indent="-1905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4pPr>
      <a:lvl5pPr marL="901700" indent="-1778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491">
          <p15:clr>
            <a:srgbClr val="F26B43"/>
          </p15:clr>
        </p15:guide>
        <p15:guide id="3" pos="189">
          <p15:clr>
            <a:srgbClr val="F26B43"/>
          </p15:clr>
        </p15:guide>
        <p15:guide id="4" pos="3840">
          <p15:clr>
            <a:srgbClr val="F26B43"/>
          </p15:clr>
        </p15:guide>
        <p15:guide id="5" orient="horz" pos="415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9DAB9DE-FEFD-DF02-920B-F320289EDC6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11AAAD-EF1E-485F-855C-0391DFBF607C}" type="slidenum">
              <a:rPr kumimoji="0" lang="en-US" sz="1000" b="0" i="0" u="none" strike="noStrike" kern="1200" cap="none" spc="0" normalizeH="0" baseline="0" noProof="0" smtClean="0">
                <a:ln>
                  <a:noFill/>
                </a:ln>
                <a:solidFill>
                  <a:srgbClr val="163862"/>
                </a:solidFill>
                <a:effectLst/>
                <a:uLnTx/>
                <a:uFillTx/>
                <a:latin typeface="Calibri"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a:ln>
                <a:noFill/>
              </a:ln>
              <a:solidFill>
                <a:srgbClr val="163862"/>
              </a:solidFill>
              <a:effectLst/>
              <a:uLnTx/>
              <a:uFillTx/>
              <a:latin typeface="Calibri" charset="0"/>
              <a:ea typeface="ＭＳ Ｐゴシック" charset="-128"/>
              <a:cs typeface="+mn-cs"/>
            </a:endParaRPr>
          </a:p>
        </p:txBody>
      </p:sp>
      <p:sp>
        <p:nvSpPr>
          <p:cNvPr id="4" name="Content Placeholder 3">
            <a:extLst>
              <a:ext uri="{FF2B5EF4-FFF2-40B4-BE49-F238E27FC236}">
                <a16:creationId xmlns:a16="http://schemas.microsoft.com/office/drawing/2014/main" id="{B88EC84D-F491-43D5-F79A-E6C0AB90BBF5}"/>
              </a:ext>
            </a:extLst>
          </p:cNvPr>
          <p:cNvSpPr>
            <a:spLocks noGrp="1"/>
          </p:cNvSpPr>
          <p:nvPr>
            <p:ph idx="12"/>
          </p:nvPr>
        </p:nvSpPr>
        <p:spPr>
          <a:xfrm>
            <a:off x="314326" y="260350"/>
            <a:ext cx="11591925" cy="358775"/>
          </a:xfrm>
        </p:spPr>
        <p:txBody>
          <a:bodyPr/>
          <a:lstStyle/>
          <a:p>
            <a:r>
              <a:rPr lang="en-GB" dirty="0"/>
              <a:t>Stakeholder cards – Case 1</a:t>
            </a:r>
          </a:p>
        </p:txBody>
      </p:sp>
      <p:sp>
        <p:nvSpPr>
          <p:cNvPr id="18" name="Rectangle 17">
            <a:extLst>
              <a:ext uri="{FF2B5EF4-FFF2-40B4-BE49-F238E27FC236}">
                <a16:creationId xmlns:a16="http://schemas.microsoft.com/office/drawing/2014/main" id="{7DBE6F78-A3F4-A2EF-363A-A63BCE70D255}"/>
              </a:ext>
            </a:extLst>
          </p:cNvPr>
          <p:cNvSpPr/>
          <p:nvPr/>
        </p:nvSpPr>
        <p:spPr>
          <a:xfrm>
            <a:off x="4364858" y="1122878"/>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Rural population near Lake </a:t>
            </a:r>
            <a:r>
              <a:rPr kumimoji="0" lang="en-GB" sz="2400" b="1" i="0" u="none" strike="noStrike" kern="1200" cap="none" spc="0" normalizeH="0" baseline="0" noProof="0" dirty="0" err="1">
                <a:ln>
                  <a:noFill/>
                </a:ln>
                <a:solidFill>
                  <a:prstClr val="black"/>
                </a:solidFill>
                <a:effectLst/>
                <a:uLnTx/>
                <a:uFillTx/>
                <a:ea typeface="+mn-ea"/>
                <a:cs typeface="+mn-cs"/>
              </a:rPr>
              <a:t>Tuz</a:t>
            </a:r>
            <a:endParaRPr kumimoji="0" lang="en-GB" sz="2400" b="1" i="0" u="none" strike="noStrike" kern="1200" cap="none" spc="0" normalizeH="0" baseline="0" noProof="0" dirty="0">
              <a:ln>
                <a:noFill/>
              </a:ln>
              <a:solidFill>
                <a:prstClr val="black"/>
              </a:solidFill>
              <a:effectLst/>
              <a:uLnTx/>
              <a:uFillTx/>
              <a:ea typeface="+mn-ea"/>
              <a:cs typeface="+mn-cs"/>
            </a:endParaRPr>
          </a:p>
        </p:txBody>
      </p:sp>
      <p:sp>
        <p:nvSpPr>
          <p:cNvPr id="19" name="Rectangle 18">
            <a:extLst>
              <a:ext uri="{FF2B5EF4-FFF2-40B4-BE49-F238E27FC236}">
                <a16:creationId xmlns:a16="http://schemas.microsoft.com/office/drawing/2014/main" id="{65F0C34D-D58E-ACDD-7F91-7022B3E53A0B}"/>
              </a:ext>
            </a:extLst>
          </p:cNvPr>
          <p:cNvSpPr/>
          <p:nvPr/>
        </p:nvSpPr>
        <p:spPr>
          <a:xfrm>
            <a:off x="314326" y="5332985"/>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Urban population near Lake </a:t>
            </a:r>
            <a:r>
              <a:rPr kumimoji="0" lang="en-GB" sz="2400" b="1" i="0" u="none" strike="noStrike" kern="1200" cap="none" spc="0" normalizeH="0" baseline="0" noProof="0" dirty="0" err="1">
                <a:ln>
                  <a:noFill/>
                </a:ln>
                <a:solidFill>
                  <a:prstClr val="black"/>
                </a:solidFill>
                <a:effectLst/>
                <a:uLnTx/>
                <a:uFillTx/>
                <a:ea typeface="+mn-ea"/>
                <a:cs typeface="+mn-cs"/>
              </a:rPr>
              <a:t>Tuz</a:t>
            </a:r>
            <a:endParaRPr kumimoji="0" lang="en-GB" sz="2400" b="1" i="0" u="none" strike="noStrike" kern="1200" cap="none" spc="0" normalizeH="0" baseline="0" noProof="0" dirty="0">
              <a:ln>
                <a:noFill/>
              </a:ln>
              <a:solidFill>
                <a:prstClr val="black"/>
              </a:solidFill>
              <a:effectLst/>
              <a:uLnTx/>
              <a:uFillTx/>
              <a:ea typeface="+mn-ea"/>
              <a:cs typeface="+mn-cs"/>
            </a:endParaRPr>
          </a:p>
        </p:txBody>
      </p:sp>
      <p:sp>
        <p:nvSpPr>
          <p:cNvPr id="20" name="Rectangle 19">
            <a:extLst>
              <a:ext uri="{FF2B5EF4-FFF2-40B4-BE49-F238E27FC236}">
                <a16:creationId xmlns:a16="http://schemas.microsoft.com/office/drawing/2014/main" id="{871F0B3D-A25F-1E09-AF37-8C547902710D}"/>
              </a:ext>
            </a:extLst>
          </p:cNvPr>
          <p:cNvSpPr/>
          <p:nvPr/>
        </p:nvSpPr>
        <p:spPr>
          <a:xfrm>
            <a:off x="300037" y="1125538"/>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Turkish central government</a:t>
            </a:r>
          </a:p>
        </p:txBody>
      </p:sp>
      <p:sp>
        <p:nvSpPr>
          <p:cNvPr id="21" name="Rectangle 20">
            <a:extLst>
              <a:ext uri="{FF2B5EF4-FFF2-40B4-BE49-F238E27FC236}">
                <a16:creationId xmlns:a16="http://schemas.microsoft.com/office/drawing/2014/main" id="{806957C5-AB7A-0F1F-3055-3BC19A3C7A43}"/>
              </a:ext>
            </a:extLst>
          </p:cNvPr>
          <p:cNvSpPr/>
          <p:nvPr/>
        </p:nvSpPr>
        <p:spPr>
          <a:xfrm>
            <a:off x="300036" y="3930502"/>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Local government</a:t>
            </a:r>
          </a:p>
        </p:txBody>
      </p:sp>
      <p:sp>
        <p:nvSpPr>
          <p:cNvPr id="22" name="Rectangle 21">
            <a:extLst>
              <a:ext uri="{FF2B5EF4-FFF2-40B4-BE49-F238E27FC236}">
                <a16:creationId xmlns:a16="http://schemas.microsoft.com/office/drawing/2014/main" id="{A8656DB6-18C3-3E6F-562A-EA2FC6D7761E}"/>
              </a:ext>
            </a:extLst>
          </p:cNvPr>
          <p:cNvSpPr/>
          <p:nvPr/>
        </p:nvSpPr>
        <p:spPr>
          <a:xfrm>
            <a:off x="4364858" y="3930502"/>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Government of downstream country</a:t>
            </a:r>
          </a:p>
        </p:txBody>
      </p:sp>
      <p:sp>
        <p:nvSpPr>
          <p:cNvPr id="23" name="Rectangle 22">
            <a:extLst>
              <a:ext uri="{FF2B5EF4-FFF2-40B4-BE49-F238E27FC236}">
                <a16:creationId xmlns:a16="http://schemas.microsoft.com/office/drawing/2014/main" id="{95EC8B8B-86E1-C289-A77D-80463DA526EC}"/>
              </a:ext>
            </a:extLst>
          </p:cNvPr>
          <p:cNvSpPr/>
          <p:nvPr/>
        </p:nvSpPr>
        <p:spPr>
          <a:xfrm>
            <a:off x="4364858" y="5330325"/>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Greenpeace</a:t>
            </a:r>
          </a:p>
        </p:txBody>
      </p:sp>
      <p:sp>
        <p:nvSpPr>
          <p:cNvPr id="24" name="Rectangle 23">
            <a:extLst>
              <a:ext uri="{FF2B5EF4-FFF2-40B4-BE49-F238E27FC236}">
                <a16:creationId xmlns:a16="http://schemas.microsoft.com/office/drawing/2014/main" id="{7CE35B13-B9A0-A772-67B1-9A4B2E552833}"/>
              </a:ext>
            </a:extLst>
          </p:cNvPr>
          <p:cNvSpPr/>
          <p:nvPr/>
        </p:nvSpPr>
        <p:spPr>
          <a:xfrm>
            <a:off x="4364858" y="2525360"/>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Soda company operating in the basin</a:t>
            </a:r>
          </a:p>
        </p:txBody>
      </p:sp>
      <p:sp>
        <p:nvSpPr>
          <p:cNvPr id="25" name="Rectangle 24">
            <a:extLst>
              <a:ext uri="{FF2B5EF4-FFF2-40B4-BE49-F238E27FC236}">
                <a16:creationId xmlns:a16="http://schemas.microsoft.com/office/drawing/2014/main" id="{81E5F67E-D64D-8AF6-9281-656421D825F0}"/>
              </a:ext>
            </a:extLst>
          </p:cNvPr>
          <p:cNvSpPr/>
          <p:nvPr/>
        </p:nvSpPr>
        <p:spPr>
          <a:xfrm>
            <a:off x="285747" y="2528020"/>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Tourists</a:t>
            </a:r>
          </a:p>
        </p:txBody>
      </p:sp>
    </p:spTree>
    <p:extLst>
      <p:ext uri="{BB962C8B-B14F-4D97-AF65-F5344CB8AC3E}">
        <p14:creationId xmlns:p14="http://schemas.microsoft.com/office/powerpoint/2010/main" val="189570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9DAB9DE-FEFD-DF02-920B-F320289EDC6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11AAAD-EF1E-485F-855C-0391DFBF607C}" type="slidenum">
              <a:rPr kumimoji="0" lang="en-US" sz="1000" b="0" i="0" u="none" strike="noStrike" kern="1200" cap="none" spc="0" normalizeH="0" baseline="0" noProof="0" smtClean="0">
                <a:ln>
                  <a:noFill/>
                </a:ln>
                <a:solidFill>
                  <a:srgbClr val="163862"/>
                </a:solidFill>
                <a:effectLst/>
                <a:uLnTx/>
                <a:uFillTx/>
                <a:latin typeface="Calibri"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163862"/>
              </a:solidFill>
              <a:effectLst/>
              <a:uLnTx/>
              <a:uFillTx/>
              <a:latin typeface="Calibri" charset="0"/>
              <a:ea typeface="ＭＳ Ｐゴシック" charset="-128"/>
              <a:cs typeface="+mn-cs"/>
            </a:endParaRPr>
          </a:p>
        </p:txBody>
      </p:sp>
      <p:sp>
        <p:nvSpPr>
          <p:cNvPr id="4" name="Content Placeholder 3">
            <a:extLst>
              <a:ext uri="{FF2B5EF4-FFF2-40B4-BE49-F238E27FC236}">
                <a16:creationId xmlns:a16="http://schemas.microsoft.com/office/drawing/2014/main" id="{B88EC84D-F491-43D5-F79A-E6C0AB90BBF5}"/>
              </a:ext>
            </a:extLst>
          </p:cNvPr>
          <p:cNvSpPr>
            <a:spLocks noGrp="1"/>
          </p:cNvSpPr>
          <p:nvPr>
            <p:ph idx="12"/>
          </p:nvPr>
        </p:nvSpPr>
        <p:spPr>
          <a:xfrm>
            <a:off x="314326" y="260350"/>
            <a:ext cx="11591925" cy="358775"/>
          </a:xfrm>
        </p:spPr>
        <p:txBody>
          <a:bodyPr/>
          <a:lstStyle/>
          <a:p>
            <a:r>
              <a:rPr lang="en-GB" dirty="0"/>
              <a:t>Stakeholder cards – Case 2</a:t>
            </a:r>
          </a:p>
        </p:txBody>
      </p:sp>
      <p:sp>
        <p:nvSpPr>
          <p:cNvPr id="27" name="Rectangle 26">
            <a:extLst>
              <a:ext uri="{FF2B5EF4-FFF2-40B4-BE49-F238E27FC236}">
                <a16:creationId xmlns:a16="http://schemas.microsoft.com/office/drawing/2014/main" id="{C8ACB70C-8D5D-65F1-70E4-97D274006F0A}"/>
              </a:ext>
            </a:extLst>
          </p:cNvPr>
          <p:cNvSpPr/>
          <p:nvPr/>
        </p:nvSpPr>
        <p:spPr>
          <a:xfrm>
            <a:off x="314326" y="3933612"/>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Cotton farmers</a:t>
            </a:r>
          </a:p>
        </p:txBody>
      </p:sp>
      <p:sp>
        <p:nvSpPr>
          <p:cNvPr id="28" name="Rectangle 27">
            <a:extLst>
              <a:ext uri="{FF2B5EF4-FFF2-40B4-BE49-F238E27FC236}">
                <a16:creationId xmlns:a16="http://schemas.microsoft.com/office/drawing/2014/main" id="{7DEE1C57-0231-C31C-9495-D2D7B4B3FB60}"/>
              </a:ext>
            </a:extLst>
          </p:cNvPr>
          <p:cNvSpPr/>
          <p:nvPr/>
        </p:nvSpPr>
        <p:spPr>
          <a:xfrm>
            <a:off x="300038" y="5337650"/>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Chemical producer</a:t>
            </a:r>
          </a:p>
        </p:txBody>
      </p:sp>
      <p:sp>
        <p:nvSpPr>
          <p:cNvPr id="29" name="Rectangle 28">
            <a:extLst>
              <a:ext uri="{FF2B5EF4-FFF2-40B4-BE49-F238E27FC236}">
                <a16:creationId xmlns:a16="http://schemas.microsoft.com/office/drawing/2014/main" id="{E1AA9B12-646D-0A99-368A-FC498FC2AFE3}"/>
              </a:ext>
            </a:extLst>
          </p:cNvPr>
          <p:cNvSpPr/>
          <p:nvPr/>
        </p:nvSpPr>
        <p:spPr>
          <a:xfrm>
            <a:off x="328615" y="1125538"/>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Textile manufacturer</a:t>
            </a:r>
          </a:p>
        </p:txBody>
      </p:sp>
      <p:sp>
        <p:nvSpPr>
          <p:cNvPr id="30" name="Rectangle 29">
            <a:extLst>
              <a:ext uri="{FF2B5EF4-FFF2-40B4-BE49-F238E27FC236}">
                <a16:creationId xmlns:a16="http://schemas.microsoft.com/office/drawing/2014/main" id="{96530368-8ED9-639B-7D6F-1EB2A8D3854D}"/>
              </a:ext>
            </a:extLst>
          </p:cNvPr>
          <p:cNvSpPr/>
          <p:nvPr/>
        </p:nvSpPr>
        <p:spPr>
          <a:xfrm>
            <a:off x="328616" y="2529575"/>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Apparel brand</a:t>
            </a:r>
          </a:p>
        </p:txBody>
      </p:sp>
      <p:sp>
        <p:nvSpPr>
          <p:cNvPr id="31" name="Rectangle 30">
            <a:extLst>
              <a:ext uri="{FF2B5EF4-FFF2-40B4-BE49-F238E27FC236}">
                <a16:creationId xmlns:a16="http://schemas.microsoft.com/office/drawing/2014/main" id="{3D256593-101F-AD65-F029-45C9C3509415}"/>
              </a:ext>
            </a:extLst>
          </p:cNvPr>
          <p:cNvSpPr/>
          <p:nvPr/>
        </p:nvSpPr>
        <p:spPr>
          <a:xfrm>
            <a:off x="4022741" y="3938206"/>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Consumers of clothing in the US</a:t>
            </a:r>
          </a:p>
        </p:txBody>
      </p:sp>
      <p:sp>
        <p:nvSpPr>
          <p:cNvPr id="32" name="Rectangle 31">
            <a:extLst>
              <a:ext uri="{FF2B5EF4-FFF2-40B4-BE49-F238E27FC236}">
                <a16:creationId xmlns:a16="http://schemas.microsoft.com/office/drawing/2014/main" id="{51E96ACE-2331-B9C1-11AB-ADF0BD46A1AA}"/>
              </a:ext>
            </a:extLst>
          </p:cNvPr>
          <p:cNvSpPr/>
          <p:nvPr/>
        </p:nvSpPr>
        <p:spPr>
          <a:xfrm>
            <a:off x="4037030" y="5337650"/>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Mexican central government</a:t>
            </a:r>
          </a:p>
        </p:txBody>
      </p:sp>
      <p:sp>
        <p:nvSpPr>
          <p:cNvPr id="33" name="Rectangle 32">
            <a:extLst>
              <a:ext uri="{FF2B5EF4-FFF2-40B4-BE49-F238E27FC236}">
                <a16:creationId xmlns:a16="http://schemas.microsoft.com/office/drawing/2014/main" id="{6EA1001B-7A58-A3B6-629D-7D10AF2CE1DC}"/>
              </a:ext>
            </a:extLst>
          </p:cNvPr>
          <p:cNvSpPr/>
          <p:nvPr/>
        </p:nvSpPr>
        <p:spPr>
          <a:xfrm>
            <a:off x="4037030" y="1139318"/>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Greenpeace</a:t>
            </a:r>
          </a:p>
        </p:txBody>
      </p:sp>
      <p:sp>
        <p:nvSpPr>
          <p:cNvPr id="34" name="Rectangle 33">
            <a:extLst>
              <a:ext uri="{FF2B5EF4-FFF2-40B4-BE49-F238E27FC236}">
                <a16:creationId xmlns:a16="http://schemas.microsoft.com/office/drawing/2014/main" id="{66965C2A-9BEF-EDB4-2468-950D10BCE838}"/>
              </a:ext>
            </a:extLst>
          </p:cNvPr>
          <p:cNvSpPr/>
          <p:nvPr/>
        </p:nvSpPr>
        <p:spPr>
          <a:xfrm>
            <a:off x="4037031" y="2538762"/>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ea typeface="+mn-ea"/>
                <a:cs typeface="+mn-cs"/>
              </a:rPr>
              <a:t>Local Mexican population</a:t>
            </a:r>
          </a:p>
        </p:txBody>
      </p:sp>
    </p:spTree>
    <p:extLst>
      <p:ext uri="{BB962C8B-B14F-4D97-AF65-F5344CB8AC3E}">
        <p14:creationId xmlns:p14="http://schemas.microsoft.com/office/powerpoint/2010/main" val="505816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9DAB9DE-FEFD-DF02-920B-F320289EDC6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11AAAD-EF1E-485F-855C-0391DFBF607C}" type="slidenum">
              <a:rPr kumimoji="0" lang="en-US" sz="1000" b="0" i="0" u="none" strike="noStrike" kern="1200" cap="none" spc="0" normalizeH="0" baseline="0" noProof="0" smtClean="0">
                <a:ln>
                  <a:noFill/>
                </a:ln>
                <a:solidFill>
                  <a:srgbClr val="163862"/>
                </a:solidFill>
                <a:effectLst/>
                <a:uLnTx/>
                <a:uFillTx/>
                <a:latin typeface="Calibri"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163862"/>
              </a:solidFill>
              <a:effectLst/>
              <a:uLnTx/>
              <a:uFillTx/>
              <a:latin typeface="Calibri" charset="0"/>
              <a:ea typeface="ＭＳ Ｐゴシック" charset="-128"/>
              <a:cs typeface="+mn-cs"/>
            </a:endParaRPr>
          </a:p>
        </p:txBody>
      </p:sp>
      <p:sp>
        <p:nvSpPr>
          <p:cNvPr id="4" name="Content Placeholder 3">
            <a:extLst>
              <a:ext uri="{FF2B5EF4-FFF2-40B4-BE49-F238E27FC236}">
                <a16:creationId xmlns:a16="http://schemas.microsoft.com/office/drawing/2014/main" id="{B88EC84D-F491-43D5-F79A-E6C0AB90BBF5}"/>
              </a:ext>
            </a:extLst>
          </p:cNvPr>
          <p:cNvSpPr>
            <a:spLocks noGrp="1"/>
          </p:cNvSpPr>
          <p:nvPr>
            <p:ph idx="12"/>
          </p:nvPr>
        </p:nvSpPr>
        <p:spPr>
          <a:xfrm>
            <a:off x="314326" y="260350"/>
            <a:ext cx="11591925" cy="358775"/>
          </a:xfrm>
        </p:spPr>
        <p:txBody>
          <a:bodyPr/>
          <a:lstStyle/>
          <a:p>
            <a:r>
              <a:rPr lang="en-GB" dirty="0"/>
              <a:t>Stakeholder cards – Case 3</a:t>
            </a:r>
          </a:p>
        </p:txBody>
      </p:sp>
      <p:sp>
        <p:nvSpPr>
          <p:cNvPr id="37" name="Rectangle 36">
            <a:extLst>
              <a:ext uri="{FF2B5EF4-FFF2-40B4-BE49-F238E27FC236}">
                <a16:creationId xmlns:a16="http://schemas.microsoft.com/office/drawing/2014/main" id="{7E8D5410-08D0-20E9-7D91-0C1BF809CEB7}"/>
              </a:ext>
            </a:extLst>
          </p:cNvPr>
          <p:cNvSpPr/>
          <p:nvPr/>
        </p:nvSpPr>
        <p:spPr>
          <a:xfrm>
            <a:off x="328614" y="5337650"/>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prstClr val="black"/>
                </a:solidFill>
              </a:rPr>
              <a:t>Dutch Ministry of Foreign Affairs</a:t>
            </a:r>
          </a:p>
        </p:txBody>
      </p:sp>
      <p:sp>
        <p:nvSpPr>
          <p:cNvPr id="38" name="Rectangle 37">
            <a:extLst>
              <a:ext uri="{FF2B5EF4-FFF2-40B4-BE49-F238E27FC236}">
                <a16:creationId xmlns:a16="http://schemas.microsoft.com/office/drawing/2014/main" id="{F45E3B01-C1FE-BAAB-B642-312026694C9E}"/>
              </a:ext>
            </a:extLst>
          </p:cNvPr>
          <p:cNvSpPr/>
          <p:nvPr/>
        </p:nvSpPr>
        <p:spPr>
          <a:xfrm>
            <a:off x="314326" y="1125538"/>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prstClr val="black"/>
                </a:solidFill>
              </a:rPr>
              <a:t>Vietnamese central government</a:t>
            </a:r>
          </a:p>
        </p:txBody>
      </p:sp>
      <p:sp>
        <p:nvSpPr>
          <p:cNvPr id="39" name="Rectangle 38">
            <a:extLst>
              <a:ext uri="{FF2B5EF4-FFF2-40B4-BE49-F238E27FC236}">
                <a16:creationId xmlns:a16="http://schemas.microsoft.com/office/drawing/2014/main" id="{C94591A8-A89E-0FE2-3C24-5554410D245B}"/>
              </a:ext>
            </a:extLst>
          </p:cNvPr>
          <p:cNvSpPr/>
          <p:nvPr/>
        </p:nvSpPr>
        <p:spPr>
          <a:xfrm>
            <a:off x="328615" y="3231594"/>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prstClr val="black"/>
                </a:solidFill>
              </a:rPr>
              <a:t>Vietnam Central Committee for Flood and Storm Control</a:t>
            </a:r>
          </a:p>
        </p:txBody>
      </p:sp>
      <p:sp>
        <p:nvSpPr>
          <p:cNvPr id="40" name="Rectangle 39">
            <a:extLst>
              <a:ext uri="{FF2B5EF4-FFF2-40B4-BE49-F238E27FC236}">
                <a16:creationId xmlns:a16="http://schemas.microsoft.com/office/drawing/2014/main" id="{4D6332F4-C3B2-7ABA-996A-AEFA64F35368}"/>
              </a:ext>
            </a:extLst>
          </p:cNvPr>
          <p:cNvSpPr/>
          <p:nvPr/>
        </p:nvSpPr>
        <p:spPr>
          <a:xfrm>
            <a:off x="4141074" y="3937066"/>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prstClr val="black"/>
                </a:solidFill>
              </a:rPr>
              <a:t>Human aid organization</a:t>
            </a:r>
          </a:p>
        </p:txBody>
      </p:sp>
      <p:sp>
        <p:nvSpPr>
          <p:cNvPr id="41" name="Rectangle 40">
            <a:extLst>
              <a:ext uri="{FF2B5EF4-FFF2-40B4-BE49-F238E27FC236}">
                <a16:creationId xmlns:a16="http://schemas.microsoft.com/office/drawing/2014/main" id="{E29709FE-44FA-7321-E639-72813BAD8CEE}"/>
              </a:ext>
            </a:extLst>
          </p:cNvPr>
          <p:cNvSpPr/>
          <p:nvPr/>
        </p:nvSpPr>
        <p:spPr>
          <a:xfrm>
            <a:off x="4141074" y="5342829"/>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prstClr val="black"/>
                </a:solidFill>
              </a:rPr>
              <a:t>UN IPCC</a:t>
            </a:r>
          </a:p>
        </p:txBody>
      </p:sp>
      <p:sp>
        <p:nvSpPr>
          <p:cNvPr id="42" name="Rectangle 41">
            <a:extLst>
              <a:ext uri="{FF2B5EF4-FFF2-40B4-BE49-F238E27FC236}">
                <a16:creationId xmlns:a16="http://schemas.microsoft.com/office/drawing/2014/main" id="{8C7FD0BC-0C00-8316-8B45-1C0B9882E495}"/>
              </a:ext>
            </a:extLst>
          </p:cNvPr>
          <p:cNvSpPr/>
          <p:nvPr/>
        </p:nvSpPr>
        <p:spPr>
          <a:xfrm>
            <a:off x="4141075" y="1125538"/>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prstClr val="black"/>
                </a:solidFill>
              </a:rPr>
              <a:t>Citizens of HCMC</a:t>
            </a:r>
          </a:p>
        </p:txBody>
      </p:sp>
      <p:sp>
        <p:nvSpPr>
          <p:cNvPr id="43" name="Rectangle 42">
            <a:extLst>
              <a:ext uri="{FF2B5EF4-FFF2-40B4-BE49-F238E27FC236}">
                <a16:creationId xmlns:a16="http://schemas.microsoft.com/office/drawing/2014/main" id="{762048EB-4CD3-A139-EEC6-E42A65A48A37}"/>
              </a:ext>
            </a:extLst>
          </p:cNvPr>
          <p:cNvSpPr/>
          <p:nvPr/>
        </p:nvSpPr>
        <p:spPr>
          <a:xfrm>
            <a:off x="4155364" y="2531302"/>
            <a:ext cx="3240000" cy="126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prstClr val="black"/>
                </a:solidFill>
              </a:rPr>
              <a:t>Rural population near HCMC</a:t>
            </a:r>
          </a:p>
        </p:txBody>
      </p:sp>
    </p:spTree>
    <p:extLst>
      <p:ext uri="{BB962C8B-B14F-4D97-AF65-F5344CB8AC3E}">
        <p14:creationId xmlns:p14="http://schemas.microsoft.com/office/powerpoint/2010/main" val="234736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Y3lLqOqTiiGTnnytQmw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4o_I07DSG6oNlxk6FMl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bvdXtrbShiQXVSRDgVw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F_documents">
  <a:themeElements>
    <a:clrScheme name="NF-AgDevCo">
      <a:dk1>
        <a:sysClr val="windowText" lastClr="000000"/>
      </a:dk1>
      <a:lt1>
        <a:sysClr val="window" lastClr="FFFFFF"/>
      </a:lt1>
      <a:dk2>
        <a:srgbClr val="003857"/>
      </a:dk2>
      <a:lt2>
        <a:srgbClr val="F2F2F2"/>
      </a:lt2>
      <a:accent1>
        <a:srgbClr val="163862"/>
      </a:accent1>
      <a:accent2>
        <a:srgbClr val="6D6E71"/>
      </a:accent2>
      <a:accent3>
        <a:srgbClr val="FFCC00"/>
      </a:accent3>
      <a:accent4>
        <a:srgbClr val="16B0DB"/>
      </a:accent4>
      <a:accent5>
        <a:srgbClr val="66BE45"/>
      </a:accent5>
      <a:accent6>
        <a:srgbClr val="CC3300"/>
      </a:accent6>
      <a:hlink>
        <a:srgbClr val="163862"/>
      </a:hlink>
      <a:folHlink>
        <a:srgbClr val="6D6E7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spPr>
      <a:bodyPr rtlCol="0" anchor="t"/>
      <a:lstStyle>
        <a:defPPr marL="171450" indent="-171450" algn="l">
          <a:buFont typeface="Arial" panose="020B0604020202020204" pitchFamily="34" charset="0"/>
          <a:buChar char="•"/>
          <a:defRPr sz="120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F House Style_EMPTY_TEMPLATE" id="{1DE0E48E-2FD3-4348-A029-377A212C5554}" vid="{F92FE1A6-4AA2-4AF2-A3E4-B65079F819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6A618E2C5A5C946923B711EFBA4932E" ma:contentTypeVersion="16" ma:contentTypeDescription="Create a new document." ma:contentTypeScope="" ma:versionID="894c5004b660727b1f69d75b4fea25c7">
  <xsd:schema xmlns:xsd="http://www.w3.org/2001/XMLSchema" xmlns:xs="http://www.w3.org/2001/XMLSchema" xmlns:p="http://schemas.microsoft.com/office/2006/metadata/properties" xmlns:ns2="82b5b377-5ded-413d-b4d5-c72a836bb93c" xmlns:ns3="934bf06a-38ee-49b6-9420-ee8f688d1e24" targetNamespace="http://schemas.microsoft.com/office/2006/metadata/properties" ma:root="true" ma:fieldsID="456db0457cfbb3c63a38372f03954455" ns2:_="" ns3:_="">
    <xsd:import namespace="82b5b377-5ded-413d-b4d5-c72a836bb93c"/>
    <xsd:import namespace="934bf06a-38ee-49b6-9420-ee8f688d1e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b5b377-5ded-413d-b4d5-c72a836bb93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5426440-f91a-46a8-9472-8286bc823be5}" ma:internalName="TaxCatchAll" ma:showField="CatchAllData" ma:web="82b5b377-5ded-413d-b4d5-c72a836bb93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34bf06a-38ee-49b6-9420-ee8f688d1e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e2eb92b-2f80-4394-b32e-820d5ac9118a"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82b5b377-5ded-413d-b4d5-c72a836bb93c" xsi:nil="true"/>
    <lcf76f155ced4ddcb4097134ff3c332f xmlns="934bf06a-38ee-49b6-9420-ee8f688d1e2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90895422-0F46-42A7-89D1-F9A29970C3FC}">
  <ds:schemaRefs>
    <ds:schemaRef ds:uri="http://schemas.microsoft.com/sharepoint/v3/contenttype/forms"/>
  </ds:schemaRefs>
</ds:datastoreItem>
</file>

<file path=customXml/itemProps2.xml><?xml version="1.0" encoding="utf-8"?>
<ds:datastoreItem xmlns:ds="http://schemas.openxmlformats.org/officeDocument/2006/customXml" ds:itemID="{B851DBAC-670A-4872-8B97-BEC836F4FF1D}"/>
</file>

<file path=customXml/itemProps3.xml><?xml version="1.0" encoding="utf-8"?>
<ds:datastoreItem xmlns:ds="http://schemas.openxmlformats.org/officeDocument/2006/customXml" ds:itemID="{53237306-1A18-40FD-A10D-946DABD1C93B}">
  <ds:schemaRefs>
    <ds:schemaRef ds:uri="http://purl.org/dc/terms/"/>
    <ds:schemaRef ds:uri="82b5b377-5ded-413d-b4d5-c72a836bb93c"/>
    <ds:schemaRef ds:uri="http://purl.org/dc/dcmitype/"/>
    <ds:schemaRef ds:uri="http://purl.org/dc/elements/1.1/"/>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934bf06a-38ee-49b6-9420-ee8f688d1e24"/>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3</TotalTime>
  <Words>94</Words>
  <Application>Microsoft Office PowerPoint</Application>
  <PresentationFormat>Widescreen</PresentationFormat>
  <Paragraphs>29</Paragraphs>
  <Slides>3</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9" baseType="lpstr">
      <vt:lpstr>Arial</vt:lpstr>
      <vt:lpstr>Calibri</vt:lpstr>
      <vt:lpstr>Calibri Light</vt:lpstr>
      <vt:lpstr>Office Theme</vt:lpstr>
      <vt:lpstr>NF_documents</vt:lpstr>
      <vt:lpstr>think-cell Slid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uline Smout</dc:creator>
  <cp:lastModifiedBy>Pauline Smout</cp:lastModifiedBy>
  <cp:revision>1</cp:revision>
  <dcterms:created xsi:type="dcterms:W3CDTF">2022-11-07T15:31:44Z</dcterms:created>
  <dcterms:modified xsi:type="dcterms:W3CDTF">2023-01-30T18:5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A618E2C5A5C946923B711EFBA4932E</vt:lpwstr>
  </property>
  <property fmtid="{D5CDD505-2E9C-101B-9397-08002B2CF9AE}" pid="3" name="MediaServiceImageTags">
    <vt:lpwstr/>
  </property>
</Properties>
</file>